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diagrams/colors1.xml" ContentType="application/vnd.openxmlformats-officedocument.drawingml.diagramColors+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diagrams/layout1.xml" ContentType="application/vnd.openxmlformats-officedocument.drawingml.diagramLayout+xml"/>
  <Override PartName="/ppt/tags/tag12.xml" ContentType="application/vnd.openxmlformats-officedocument.presentationml.tags+xml"/>
  <Override PartName="/ppt/diagrams/data2.xml" ContentType="application/vnd.openxmlformats-officedocument.drawingml.diagramData+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diagrams/data1.xml" ContentType="application/vnd.openxmlformats-officedocument.drawingml.diagramData+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notesSlides/notesSlide3.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1"/>
  </p:sldMasterIdLst>
  <p:notesMasterIdLst>
    <p:notesMasterId r:id="rId29"/>
  </p:notesMasterIdLst>
  <p:handoutMasterIdLst>
    <p:handoutMasterId r:id="rId30"/>
  </p:handoutMasterIdLst>
  <p:sldIdLst>
    <p:sldId id="402" r:id="rId2"/>
    <p:sldId id="403" r:id="rId3"/>
    <p:sldId id="404" r:id="rId4"/>
    <p:sldId id="420" r:id="rId5"/>
    <p:sldId id="405" r:id="rId6"/>
    <p:sldId id="406" r:id="rId7"/>
    <p:sldId id="407" r:id="rId8"/>
    <p:sldId id="408" r:id="rId9"/>
    <p:sldId id="409" r:id="rId10"/>
    <p:sldId id="411" r:id="rId11"/>
    <p:sldId id="427" r:id="rId12"/>
    <p:sldId id="412" r:id="rId13"/>
    <p:sldId id="413" r:id="rId14"/>
    <p:sldId id="414" r:id="rId15"/>
    <p:sldId id="415" r:id="rId16"/>
    <p:sldId id="416" r:id="rId17"/>
    <p:sldId id="256" r:id="rId18"/>
    <p:sldId id="426" r:id="rId19"/>
    <p:sldId id="386" r:id="rId20"/>
    <p:sldId id="422" r:id="rId21"/>
    <p:sldId id="421" r:id="rId22"/>
    <p:sldId id="387" r:id="rId23"/>
    <p:sldId id="423" r:id="rId24"/>
    <p:sldId id="428" r:id="rId25"/>
    <p:sldId id="429" r:id="rId26"/>
    <p:sldId id="419" r:id="rId27"/>
    <p:sldId id="425" r:id="rId28"/>
  </p:sldIdLst>
  <p:sldSz cx="9144000" cy="6858000" type="screen4x3"/>
  <p:notesSz cx="6797675" cy="9926638"/>
  <p:defaultTextStyle>
    <a:defPPr>
      <a:defRPr lang="nb-NO"/>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9900"/>
    <a:srgbClr val="336699"/>
    <a:srgbClr val="FF3300"/>
    <a:srgbClr val="CC6600"/>
    <a:srgbClr val="0033CC"/>
    <a:srgbClr val="0066FF"/>
    <a:srgbClr val="0099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532" autoAdjust="0"/>
    <p:restoredTop sz="92866" autoAdjust="0"/>
  </p:normalViewPr>
  <p:slideViewPr>
    <p:cSldViewPr>
      <p:cViewPr>
        <p:scale>
          <a:sx n="100" d="100"/>
          <a:sy n="100" d="100"/>
        </p:scale>
        <p:origin x="-2814" y="-81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1008"/>
    </p:cViewPr>
  </p:sorterViewPr>
  <p:notesViewPr>
    <p:cSldViewPr>
      <p:cViewPr varScale="1">
        <p:scale>
          <a:sx n="51" d="100"/>
          <a:sy n="51" d="100"/>
        </p:scale>
        <p:origin x="-2958" y="-108"/>
      </p:cViewPr>
      <p:guideLst>
        <p:guide orient="horz" pos="3126"/>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6F5F1E-BAFE-4579-83F6-777B6EE9196F}" type="doc">
      <dgm:prSet loTypeId="urn:microsoft.com/office/officeart/2008/layout/HalfCircleOrganizationChart" loCatId="hierarchy" qsTypeId="urn:microsoft.com/office/officeart/2005/8/quickstyle/simple1#1" qsCatId="simple" csTypeId="urn:microsoft.com/office/officeart/2005/8/colors/accent0_3" csCatId="mainScheme" phldr="1"/>
      <dgm:spPr/>
      <dgm:t>
        <a:bodyPr/>
        <a:lstStyle/>
        <a:p>
          <a:endParaRPr lang="nb-NO"/>
        </a:p>
      </dgm:t>
    </dgm:pt>
    <dgm:pt modelId="{B0AFF44F-7DFA-474B-82EE-6EC6AEE9A622}">
      <dgm:prSet phldrT="[Tekst]" custT="1"/>
      <dgm:spPr/>
      <dgm:t>
        <a:bodyPr/>
        <a:lstStyle/>
        <a:p>
          <a:r>
            <a:rPr lang="nb-NO" sz="1000" dirty="0" smtClean="0"/>
            <a:t>Leder </a:t>
          </a:r>
        </a:p>
        <a:p>
          <a:r>
            <a:rPr lang="nb-NO" sz="1000" dirty="0" err="1" smtClean="0"/>
            <a:t>ped.støtte</a:t>
          </a:r>
          <a:r>
            <a:rPr lang="nb-NO" sz="1000" dirty="0" smtClean="0"/>
            <a:t>*</a:t>
          </a:r>
          <a:endParaRPr lang="nb-NO" sz="1000" dirty="0"/>
        </a:p>
      </dgm:t>
    </dgm:pt>
    <dgm:pt modelId="{9F92C4C8-12DA-4FB6-840D-63688C3B324C}" type="parTrans" cxnId="{ED80DC4A-9919-44EB-8D9A-3CF8F850998E}">
      <dgm:prSet/>
      <dgm:spPr/>
      <dgm:t>
        <a:bodyPr/>
        <a:lstStyle/>
        <a:p>
          <a:endParaRPr lang="nb-NO" sz="1000"/>
        </a:p>
      </dgm:t>
    </dgm:pt>
    <dgm:pt modelId="{34DD687C-E294-497F-B6C3-293BA80F97E5}" type="sibTrans" cxnId="{ED80DC4A-9919-44EB-8D9A-3CF8F850998E}">
      <dgm:prSet/>
      <dgm:spPr/>
      <dgm:t>
        <a:bodyPr/>
        <a:lstStyle/>
        <a:p>
          <a:endParaRPr lang="nb-NO" sz="1000"/>
        </a:p>
      </dgm:t>
    </dgm:pt>
    <dgm:pt modelId="{2CB9EF5A-12C8-408F-8C58-47B36070ED04}" type="asst">
      <dgm:prSet phldrT="[Tekst]" custT="1"/>
      <dgm:spPr/>
      <dgm:t>
        <a:bodyPr/>
        <a:lstStyle/>
        <a:p>
          <a:r>
            <a:rPr lang="nb-NO" sz="1000" dirty="0" smtClean="0"/>
            <a:t>Rektor</a:t>
          </a:r>
          <a:endParaRPr lang="nb-NO" sz="1000" dirty="0"/>
        </a:p>
      </dgm:t>
    </dgm:pt>
    <dgm:pt modelId="{74EBE522-D14E-421E-9787-E8C9CC98CB55}" type="parTrans" cxnId="{E76A5A3E-65F1-47A8-ADD9-1809BF3989B3}">
      <dgm:prSet/>
      <dgm:spPr/>
      <dgm:t>
        <a:bodyPr/>
        <a:lstStyle/>
        <a:p>
          <a:endParaRPr lang="nb-NO" sz="1000"/>
        </a:p>
      </dgm:t>
    </dgm:pt>
    <dgm:pt modelId="{9EF2726F-DBE7-4DC2-8E0F-976E0C929DBA}" type="sibTrans" cxnId="{E76A5A3E-65F1-47A8-ADD9-1809BF3989B3}">
      <dgm:prSet/>
      <dgm:spPr/>
      <dgm:t>
        <a:bodyPr/>
        <a:lstStyle/>
        <a:p>
          <a:endParaRPr lang="nb-NO" sz="1000"/>
        </a:p>
      </dgm:t>
    </dgm:pt>
    <dgm:pt modelId="{C0390E41-F7A9-478A-8B2F-DFB51AE97B42}">
      <dgm:prSet phldrT="[Tekst]" custT="1"/>
      <dgm:spPr/>
      <dgm:t>
        <a:bodyPr/>
        <a:lstStyle/>
        <a:p>
          <a:r>
            <a:rPr lang="nb-NO" sz="1000" dirty="0" smtClean="0"/>
            <a:t>Avd.</a:t>
          </a:r>
        </a:p>
        <a:p>
          <a:r>
            <a:rPr lang="nb-NO" sz="1000" dirty="0" smtClean="0"/>
            <a:t>ledere</a:t>
          </a:r>
          <a:endParaRPr lang="nb-NO" sz="1000" dirty="0"/>
        </a:p>
      </dgm:t>
    </dgm:pt>
    <dgm:pt modelId="{806964A2-8C8C-4A5D-A86E-1A59634D962C}" type="parTrans" cxnId="{A3C25A2F-332D-431B-B9A7-6739304BD2E4}">
      <dgm:prSet/>
      <dgm:spPr/>
      <dgm:t>
        <a:bodyPr/>
        <a:lstStyle/>
        <a:p>
          <a:endParaRPr lang="nb-NO" sz="1000"/>
        </a:p>
      </dgm:t>
    </dgm:pt>
    <dgm:pt modelId="{C3F6FCFF-DD56-437A-BA99-5B8418796E9A}" type="sibTrans" cxnId="{A3C25A2F-332D-431B-B9A7-6739304BD2E4}">
      <dgm:prSet/>
      <dgm:spPr/>
      <dgm:t>
        <a:bodyPr/>
        <a:lstStyle/>
        <a:p>
          <a:endParaRPr lang="nb-NO" sz="1000"/>
        </a:p>
      </dgm:t>
    </dgm:pt>
    <dgm:pt modelId="{11D4A0A5-7AEC-406B-9831-F6B2FF1C7819}">
      <dgm:prSet phldrT="[Tekst]" custT="1"/>
      <dgm:spPr/>
      <dgm:t>
        <a:bodyPr/>
        <a:lstStyle/>
        <a:p>
          <a:r>
            <a:rPr lang="nb-NO" sz="1000" dirty="0" smtClean="0"/>
            <a:t>Adm.</a:t>
          </a:r>
        </a:p>
        <a:p>
          <a:r>
            <a:rPr lang="nb-NO" sz="1000" dirty="0" smtClean="0"/>
            <a:t>leder</a:t>
          </a:r>
          <a:endParaRPr lang="nb-NO" sz="1000" dirty="0"/>
        </a:p>
      </dgm:t>
    </dgm:pt>
    <dgm:pt modelId="{5E59B1A8-7428-4084-80E1-6DBAB8CFCD3F}" type="parTrans" cxnId="{A55FE014-0DE4-4842-8A58-9928823EC9C0}">
      <dgm:prSet/>
      <dgm:spPr/>
      <dgm:t>
        <a:bodyPr/>
        <a:lstStyle/>
        <a:p>
          <a:endParaRPr lang="nb-NO" sz="1000"/>
        </a:p>
      </dgm:t>
    </dgm:pt>
    <dgm:pt modelId="{67C1E245-13A8-4BB5-BE59-54F683E300D3}" type="sibTrans" cxnId="{A55FE014-0DE4-4842-8A58-9928823EC9C0}">
      <dgm:prSet/>
      <dgm:spPr/>
      <dgm:t>
        <a:bodyPr/>
        <a:lstStyle/>
        <a:p>
          <a:endParaRPr lang="nb-NO" sz="1000"/>
        </a:p>
      </dgm:t>
    </dgm:pt>
    <dgm:pt modelId="{C73C7B69-3DD4-4078-B949-1BD671B7321A}" type="asst">
      <dgm:prSet custT="1"/>
      <dgm:spPr/>
      <dgm:t>
        <a:bodyPr/>
        <a:lstStyle/>
        <a:p>
          <a:r>
            <a:rPr lang="nb-NO" sz="1000" dirty="0" err="1" smtClean="0"/>
            <a:t>Ass.rektor</a:t>
          </a:r>
          <a:endParaRPr lang="nb-NO" sz="1000" dirty="0"/>
        </a:p>
      </dgm:t>
    </dgm:pt>
    <dgm:pt modelId="{A6A4DE59-7C86-4A82-9A18-2C3FE0A71768}" type="parTrans" cxnId="{4A705CEE-697B-424A-9994-A3DCBCC2E702}">
      <dgm:prSet/>
      <dgm:spPr/>
      <dgm:t>
        <a:bodyPr/>
        <a:lstStyle/>
        <a:p>
          <a:endParaRPr lang="nb-NO" sz="1000"/>
        </a:p>
      </dgm:t>
    </dgm:pt>
    <dgm:pt modelId="{54E258FC-C125-47ED-B281-005088DCFB6C}" type="sibTrans" cxnId="{4A705CEE-697B-424A-9994-A3DCBCC2E702}">
      <dgm:prSet/>
      <dgm:spPr/>
      <dgm:t>
        <a:bodyPr/>
        <a:lstStyle/>
        <a:p>
          <a:endParaRPr lang="nb-NO" sz="1000"/>
        </a:p>
      </dgm:t>
    </dgm:pt>
    <dgm:pt modelId="{40040EFC-F5A6-4AA3-AB4C-3B39E185915E}">
      <dgm:prSet custT="1"/>
      <dgm:spPr/>
      <dgm:t>
        <a:bodyPr/>
        <a:lstStyle/>
        <a:p>
          <a:r>
            <a:rPr lang="nb-NO" sz="1000" dirty="0" err="1" smtClean="0"/>
            <a:t>Ped.støtte</a:t>
          </a:r>
          <a:r>
            <a:rPr lang="nb-NO" sz="1000" dirty="0" smtClean="0"/>
            <a:t> </a:t>
          </a:r>
        </a:p>
        <a:p>
          <a:r>
            <a:rPr lang="nb-NO" sz="1000" dirty="0" smtClean="0"/>
            <a:t>ressurser</a:t>
          </a:r>
          <a:endParaRPr lang="nb-NO" sz="1000" dirty="0"/>
        </a:p>
      </dgm:t>
    </dgm:pt>
    <dgm:pt modelId="{0297FACE-A37A-4714-AF03-81CF860C09A3}" type="parTrans" cxnId="{85FD577B-2AEE-4F13-94ED-04EF4552525A}">
      <dgm:prSet/>
      <dgm:spPr/>
      <dgm:t>
        <a:bodyPr/>
        <a:lstStyle/>
        <a:p>
          <a:endParaRPr lang="nb-NO" sz="1000"/>
        </a:p>
      </dgm:t>
    </dgm:pt>
    <dgm:pt modelId="{FD21905F-BDAD-4987-AD8C-6EF944FB13BB}" type="sibTrans" cxnId="{85FD577B-2AEE-4F13-94ED-04EF4552525A}">
      <dgm:prSet/>
      <dgm:spPr/>
      <dgm:t>
        <a:bodyPr/>
        <a:lstStyle/>
        <a:p>
          <a:endParaRPr lang="nb-NO" sz="1000"/>
        </a:p>
      </dgm:t>
    </dgm:pt>
    <dgm:pt modelId="{7309257F-BA94-4E52-8971-3ED6F16774EF}">
      <dgm:prSet custT="1"/>
      <dgm:spPr/>
      <dgm:t>
        <a:bodyPr/>
        <a:lstStyle/>
        <a:p>
          <a:r>
            <a:rPr lang="nb-NO" sz="1000" dirty="0" smtClean="0"/>
            <a:t>Pedagogiske</a:t>
          </a:r>
        </a:p>
        <a:p>
          <a:r>
            <a:rPr lang="nb-NO" sz="1000" dirty="0" smtClean="0"/>
            <a:t>ressurser</a:t>
          </a:r>
          <a:endParaRPr lang="nb-NO" sz="1000" dirty="0"/>
        </a:p>
      </dgm:t>
    </dgm:pt>
    <dgm:pt modelId="{1159BB36-32B3-4232-8EA2-B341C1FADA58}" type="parTrans" cxnId="{06CC0292-B8BB-4B36-9A4B-05F066D2429E}">
      <dgm:prSet/>
      <dgm:spPr/>
      <dgm:t>
        <a:bodyPr/>
        <a:lstStyle/>
        <a:p>
          <a:endParaRPr lang="nb-NO" sz="1000"/>
        </a:p>
      </dgm:t>
    </dgm:pt>
    <dgm:pt modelId="{13A038E1-BA3E-45DD-BFD0-1034D57A351A}" type="sibTrans" cxnId="{06CC0292-B8BB-4B36-9A4B-05F066D2429E}">
      <dgm:prSet/>
      <dgm:spPr/>
      <dgm:t>
        <a:bodyPr/>
        <a:lstStyle/>
        <a:p>
          <a:endParaRPr lang="nb-NO" sz="1000"/>
        </a:p>
      </dgm:t>
    </dgm:pt>
    <dgm:pt modelId="{689CE518-45EE-429C-8A15-293957A2DD78}">
      <dgm:prSet custT="1"/>
      <dgm:spPr/>
      <dgm:t>
        <a:bodyPr/>
        <a:lstStyle/>
        <a:p>
          <a:r>
            <a:rPr lang="nb-NO" sz="1000" dirty="0" smtClean="0"/>
            <a:t>Adm.</a:t>
          </a:r>
        </a:p>
        <a:p>
          <a:r>
            <a:rPr lang="nb-NO" sz="1000" dirty="0" smtClean="0"/>
            <a:t>ressurser</a:t>
          </a:r>
          <a:endParaRPr lang="nb-NO" sz="1000" dirty="0"/>
        </a:p>
      </dgm:t>
    </dgm:pt>
    <dgm:pt modelId="{60B5A788-BE02-4269-B9F3-667886DA1605}" type="parTrans" cxnId="{9C31B9D1-300B-49B3-8B69-D0F99B0BCB32}">
      <dgm:prSet/>
      <dgm:spPr/>
      <dgm:t>
        <a:bodyPr/>
        <a:lstStyle/>
        <a:p>
          <a:endParaRPr lang="nb-NO" sz="1000"/>
        </a:p>
      </dgm:t>
    </dgm:pt>
    <dgm:pt modelId="{B53AE1EF-29C9-4B6C-80D9-4AB744D421C9}" type="sibTrans" cxnId="{9C31B9D1-300B-49B3-8B69-D0F99B0BCB32}">
      <dgm:prSet/>
      <dgm:spPr/>
      <dgm:t>
        <a:bodyPr/>
        <a:lstStyle/>
        <a:p>
          <a:endParaRPr lang="nb-NO" sz="1000"/>
        </a:p>
      </dgm:t>
    </dgm:pt>
    <dgm:pt modelId="{F504C135-961C-48A5-8F99-10447AECDDAC}" type="pres">
      <dgm:prSet presAssocID="{7E6F5F1E-BAFE-4579-83F6-777B6EE9196F}" presName="Name0" presStyleCnt="0">
        <dgm:presLayoutVars>
          <dgm:orgChart val="1"/>
          <dgm:chPref val="1"/>
          <dgm:dir/>
          <dgm:animOne val="branch"/>
          <dgm:animLvl val="lvl"/>
          <dgm:resizeHandles/>
        </dgm:presLayoutVars>
      </dgm:prSet>
      <dgm:spPr/>
      <dgm:t>
        <a:bodyPr/>
        <a:lstStyle/>
        <a:p>
          <a:endParaRPr lang="nb-NO"/>
        </a:p>
      </dgm:t>
    </dgm:pt>
    <dgm:pt modelId="{84DEDCC9-7FE8-43BB-B588-F43C90C81F24}" type="pres">
      <dgm:prSet presAssocID="{2CB9EF5A-12C8-408F-8C58-47B36070ED04}" presName="hierRoot1" presStyleCnt="0">
        <dgm:presLayoutVars>
          <dgm:hierBranch val="init"/>
        </dgm:presLayoutVars>
      </dgm:prSet>
      <dgm:spPr/>
      <dgm:t>
        <a:bodyPr/>
        <a:lstStyle/>
        <a:p>
          <a:endParaRPr lang="nb-NO"/>
        </a:p>
      </dgm:t>
    </dgm:pt>
    <dgm:pt modelId="{B483706E-A350-42A9-9A17-C0212688EB61}" type="pres">
      <dgm:prSet presAssocID="{2CB9EF5A-12C8-408F-8C58-47B36070ED04}" presName="rootComposite1" presStyleCnt="0"/>
      <dgm:spPr/>
      <dgm:t>
        <a:bodyPr/>
        <a:lstStyle/>
        <a:p>
          <a:endParaRPr lang="nb-NO"/>
        </a:p>
      </dgm:t>
    </dgm:pt>
    <dgm:pt modelId="{084955CE-AA0A-48FF-9F1C-CC86564EAC0A}" type="pres">
      <dgm:prSet presAssocID="{2CB9EF5A-12C8-408F-8C58-47B36070ED04}" presName="rootText1" presStyleLbl="alignAcc1" presStyleIdx="0" presStyleCnt="0">
        <dgm:presLayoutVars>
          <dgm:chPref val="3"/>
        </dgm:presLayoutVars>
      </dgm:prSet>
      <dgm:spPr/>
      <dgm:t>
        <a:bodyPr/>
        <a:lstStyle/>
        <a:p>
          <a:endParaRPr lang="nb-NO"/>
        </a:p>
      </dgm:t>
    </dgm:pt>
    <dgm:pt modelId="{DE469B22-771B-4220-924E-099B3903D84C}" type="pres">
      <dgm:prSet presAssocID="{2CB9EF5A-12C8-408F-8C58-47B36070ED04}" presName="topArc1" presStyleLbl="parChTrans1D1" presStyleIdx="0" presStyleCnt="16"/>
      <dgm:spPr/>
      <dgm:t>
        <a:bodyPr/>
        <a:lstStyle/>
        <a:p>
          <a:endParaRPr lang="nb-NO"/>
        </a:p>
      </dgm:t>
    </dgm:pt>
    <dgm:pt modelId="{E25352A8-3764-41C7-BAFC-6675A23B0149}" type="pres">
      <dgm:prSet presAssocID="{2CB9EF5A-12C8-408F-8C58-47B36070ED04}" presName="bottomArc1" presStyleLbl="parChTrans1D1" presStyleIdx="1" presStyleCnt="16"/>
      <dgm:spPr/>
      <dgm:t>
        <a:bodyPr/>
        <a:lstStyle/>
        <a:p>
          <a:endParaRPr lang="nb-NO"/>
        </a:p>
      </dgm:t>
    </dgm:pt>
    <dgm:pt modelId="{68515C0C-3535-4DEE-9500-19D26893CB6F}" type="pres">
      <dgm:prSet presAssocID="{2CB9EF5A-12C8-408F-8C58-47B36070ED04}" presName="topConnNode1" presStyleLbl="asst0" presStyleIdx="0" presStyleCnt="0"/>
      <dgm:spPr/>
      <dgm:t>
        <a:bodyPr/>
        <a:lstStyle/>
        <a:p>
          <a:endParaRPr lang="nb-NO"/>
        </a:p>
      </dgm:t>
    </dgm:pt>
    <dgm:pt modelId="{CAB908E7-3C71-42C5-9BB5-8C8FC6A908FF}" type="pres">
      <dgm:prSet presAssocID="{2CB9EF5A-12C8-408F-8C58-47B36070ED04}" presName="hierChild2" presStyleCnt="0"/>
      <dgm:spPr/>
      <dgm:t>
        <a:bodyPr/>
        <a:lstStyle/>
        <a:p>
          <a:endParaRPr lang="nb-NO"/>
        </a:p>
      </dgm:t>
    </dgm:pt>
    <dgm:pt modelId="{1A5272A5-8947-43C4-A42B-4C4D6970B0D9}" type="pres">
      <dgm:prSet presAssocID="{9F92C4C8-12DA-4FB6-840D-63688C3B324C}" presName="Name28" presStyleLbl="parChTrans1D2" presStyleIdx="0" presStyleCnt="4"/>
      <dgm:spPr/>
      <dgm:t>
        <a:bodyPr/>
        <a:lstStyle/>
        <a:p>
          <a:endParaRPr lang="nb-NO"/>
        </a:p>
      </dgm:t>
    </dgm:pt>
    <dgm:pt modelId="{ED5FE49B-F98A-4032-A28A-9F22911E6E93}" type="pres">
      <dgm:prSet presAssocID="{B0AFF44F-7DFA-474B-82EE-6EC6AEE9A622}" presName="hierRoot2" presStyleCnt="0">
        <dgm:presLayoutVars>
          <dgm:hierBranch val="hang"/>
        </dgm:presLayoutVars>
      </dgm:prSet>
      <dgm:spPr/>
      <dgm:t>
        <a:bodyPr/>
        <a:lstStyle/>
        <a:p>
          <a:endParaRPr lang="nb-NO"/>
        </a:p>
      </dgm:t>
    </dgm:pt>
    <dgm:pt modelId="{751576A6-EEE6-488C-AF61-BE89F1081826}" type="pres">
      <dgm:prSet presAssocID="{B0AFF44F-7DFA-474B-82EE-6EC6AEE9A622}" presName="rootComposite2" presStyleCnt="0"/>
      <dgm:spPr/>
      <dgm:t>
        <a:bodyPr/>
        <a:lstStyle/>
        <a:p>
          <a:endParaRPr lang="nb-NO"/>
        </a:p>
      </dgm:t>
    </dgm:pt>
    <dgm:pt modelId="{15D235F1-850B-435F-80DE-E99319BD95F5}" type="pres">
      <dgm:prSet presAssocID="{B0AFF44F-7DFA-474B-82EE-6EC6AEE9A622}" presName="rootText2" presStyleLbl="alignAcc1" presStyleIdx="0" presStyleCnt="0">
        <dgm:presLayoutVars>
          <dgm:chPref val="3"/>
        </dgm:presLayoutVars>
      </dgm:prSet>
      <dgm:spPr/>
      <dgm:t>
        <a:bodyPr/>
        <a:lstStyle/>
        <a:p>
          <a:endParaRPr lang="nb-NO"/>
        </a:p>
      </dgm:t>
    </dgm:pt>
    <dgm:pt modelId="{BDC62397-0068-4962-B00D-1F393D3EDC3D}" type="pres">
      <dgm:prSet presAssocID="{B0AFF44F-7DFA-474B-82EE-6EC6AEE9A622}" presName="topArc2" presStyleLbl="parChTrans1D1" presStyleIdx="2" presStyleCnt="16"/>
      <dgm:spPr/>
      <dgm:t>
        <a:bodyPr/>
        <a:lstStyle/>
        <a:p>
          <a:endParaRPr lang="nb-NO"/>
        </a:p>
      </dgm:t>
    </dgm:pt>
    <dgm:pt modelId="{6E849477-E0D8-4EA7-95C6-AB7F434AC580}" type="pres">
      <dgm:prSet presAssocID="{B0AFF44F-7DFA-474B-82EE-6EC6AEE9A622}" presName="bottomArc2" presStyleLbl="parChTrans1D1" presStyleIdx="3" presStyleCnt="16"/>
      <dgm:spPr/>
      <dgm:t>
        <a:bodyPr/>
        <a:lstStyle/>
        <a:p>
          <a:endParaRPr lang="nb-NO"/>
        </a:p>
      </dgm:t>
    </dgm:pt>
    <dgm:pt modelId="{BBE3BF37-61A3-4D8F-8CF9-4CD3F700B9EC}" type="pres">
      <dgm:prSet presAssocID="{B0AFF44F-7DFA-474B-82EE-6EC6AEE9A622}" presName="topConnNode2" presStyleLbl="node2" presStyleIdx="0" presStyleCnt="0"/>
      <dgm:spPr/>
      <dgm:t>
        <a:bodyPr/>
        <a:lstStyle/>
        <a:p>
          <a:endParaRPr lang="nb-NO"/>
        </a:p>
      </dgm:t>
    </dgm:pt>
    <dgm:pt modelId="{4945E5D8-44DA-47BA-B40F-92860E9025F8}" type="pres">
      <dgm:prSet presAssocID="{B0AFF44F-7DFA-474B-82EE-6EC6AEE9A622}" presName="hierChild4" presStyleCnt="0"/>
      <dgm:spPr/>
      <dgm:t>
        <a:bodyPr/>
        <a:lstStyle/>
        <a:p>
          <a:endParaRPr lang="nb-NO"/>
        </a:p>
      </dgm:t>
    </dgm:pt>
    <dgm:pt modelId="{731EE63E-C538-49AB-8CAE-D89C02E24DA4}" type="pres">
      <dgm:prSet presAssocID="{0297FACE-A37A-4714-AF03-81CF860C09A3}" presName="Name28" presStyleLbl="parChTrans1D3" presStyleIdx="0" presStyleCnt="3"/>
      <dgm:spPr/>
      <dgm:t>
        <a:bodyPr/>
        <a:lstStyle/>
        <a:p>
          <a:endParaRPr lang="nb-NO"/>
        </a:p>
      </dgm:t>
    </dgm:pt>
    <dgm:pt modelId="{580FC79C-88F5-4E42-BE48-8E3926E218A9}" type="pres">
      <dgm:prSet presAssocID="{40040EFC-F5A6-4AA3-AB4C-3B39E185915E}" presName="hierRoot2" presStyleCnt="0">
        <dgm:presLayoutVars>
          <dgm:hierBranch val="init"/>
        </dgm:presLayoutVars>
      </dgm:prSet>
      <dgm:spPr/>
    </dgm:pt>
    <dgm:pt modelId="{746A1B90-7854-48B2-87B2-A341ADF88131}" type="pres">
      <dgm:prSet presAssocID="{40040EFC-F5A6-4AA3-AB4C-3B39E185915E}" presName="rootComposite2" presStyleCnt="0"/>
      <dgm:spPr/>
    </dgm:pt>
    <dgm:pt modelId="{671B88A4-932E-4273-A3CB-21E885FC96C8}" type="pres">
      <dgm:prSet presAssocID="{40040EFC-F5A6-4AA3-AB4C-3B39E185915E}" presName="rootText2" presStyleLbl="alignAcc1" presStyleIdx="0" presStyleCnt="0" custLinFactNeighborX="86451" custLinFactNeighborY="6441">
        <dgm:presLayoutVars>
          <dgm:chPref val="3"/>
        </dgm:presLayoutVars>
      </dgm:prSet>
      <dgm:spPr/>
      <dgm:t>
        <a:bodyPr/>
        <a:lstStyle/>
        <a:p>
          <a:endParaRPr lang="nb-NO"/>
        </a:p>
      </dgm:t>
    </dgm:pt>
    <dgm:pt modelId="{31D49255-F1D0-4A8F-B06F-1ED4674DBA19}" type="pres">
      <dgm:prSet presAssocID="{40040EFC-F5A6-4AA3-AB4C-3B39E185915E}" presName="topArc2" presStyleLbl="parChTrans1D1" presStyleIdx="4" presStyleCnt="16"/>
      <dgm:spPr/>
    </dgm:pt>
    <dgm:pt modelId="{51D26BB3-9194-4C96-BE59-AF034841698E}" type="pres">
      <dgm:prSet presAssocID="{40040EFC-F5A6-4AA3-AB4C-3B39E185915E}" presName="bottomArc2" presStyleLbl="parChTrans1D1" presStyleIdx="5" presStyleCnt="16"/>
      <dgm:spPr/>
    </dgm:pt>
    <dgm:pt modelId="{7A01EDDB-D384-4369-9BB8-9CFC625675E1}" type="pres">
      <dgm:prSet presAssocID="{40040EFC-F5A6-4AA3-AB4C-3B39E185915E}" presName="topConnNode2" presStyleLbl="node3" presStyleIdx="0" presStyleCnt="0"/>
      <dgm:spPr/>
      <dgm:t>
        <a:bodyPr/>
        <a:lstStyle/>
        <a:p>
          <a:endParaRPr lang="nb-NO"/>
        </a:p>
      </dgm:t>
    </dgm:pt>
    <dgm:pt modelId="{BD5A5DB1-18BA-4DB0-8022-5541837678B5}" type="pres">
      <dgm:prSet presAssocID="{40040EFC-F5A6-4AA3-AB4C-3B39E185915E}" presName="hierChild4" presStyleCnt="0"/>
      <dgm:spPr/>
    </dgm:pt>
    <dgm:pt modelId="{11D67FBE-2B8E-4D92-BAEC-A15FB305B596}" type="pres">
      <dgm:prSet presAssocID="{40040EFC-F5A6-4AA3-AB4C-3B39E185915E}" presName="hierChild5" presStyleCnt="0"/>
      <dgm:spPr/>
    </dgm:pt>
    <dgm:pt modelId="{A1E244B6-775D-485C-BDA1-2BB28075DE43}" type="pres">
      <dgm:prSet presAssocID="{B0AFF44F-7DFA-474B-82EE-6EC6AEE9A622}" presName="hierChild5" presStyleCnt="0"/>
      <dgm:spPr/>
      <dgm:t>
        <a:bodyPr/>
        <a:lstStyle/>
        <a:p>
          <a:endParaRPr lang="nb-NO"/>
        </a:p>
      </dgm:t>
    </dgm:pt>
    <dgm:pt modelId="{AFE24DC6-7547-4A87-B383-0B93A2738868}" type="pres">
      <dgm:prSet presAssocID="{806964A2-8C8C-4A5D-A86E-1A59634D962C}" presName="Name28" presStyleLbl="parChTrans1D2" presStyleIdx="1" presStyleCnt="4"/>
      <dgm:spPr/>
      <dgm:t>
        <a:bodyPr/>
        <a:lstStyle/>
        <a:p>
          <a:endParaRPr lang="nb-NO"/>
        </a:p>
      </dgm:t>
    </dgm:pt>
    <dgm:pt modelId="{5C481143-30F5-4BC1-9989-CA9D22524670}" type="pres">
      <dgm:prSet presAssocID="{C0390E41-F7A9-478A-8B2F-DFB51AE97B42}" presName="hierRoot2" presStyleCnt="0">
        <dgm:presLayoutVars>
          <dgm:hierBranch val="init"/>
        </dgm:presLayoutVars>
      </dgm:prSet>
      <dgm:spPr/>
      <dgm:t>
        <a:bodyPr/>
        <a:lstStyle/>
        <a:p>
          <a:endParaRPr lang="nb-NO"/>
        </a:p>
      </dgm:t>
    </dgm:pt>
    <dgm:pt modelId="{CF59BAF5-E693-4160-8CCB-C1CCAFFB8ED2}" type="pres">
      <dgm:prSet presAssocID="{C0390E41-F7A9-478A-8B2F-DFB51AE97B42}" presName="rootComposite2" presStyleCnt="0"/>
      <dgm:spPr/>
      <dgm:t>
        <a:bodyPr/>
        <a:lstStyle/>
        <a:p>
          <a:endParaRPr lang="nb-NO"/>
        </a:p>
      </dgm:t>
    </dgm:pt>
    <dgm:pt modelId="{0AA20F07-357D-4786-BE49-3C870500E251}" type="pres">
      <dgm:prSet presAssocID="{C0390E41-F7A9-478A-8B2F-DFB51AE97B42}" presName="rootText2" presStyleLbl="alignAcc1" presStyleIdx="0" presStyleCnt="0">
        <dgm:presLayoutVars>
          <dgm:chPref val="3"/>
        </dgm:presLayoutVars>
      </dgm:prSet>
      <dgm:spPr/>
      <dgm:t>
        <a:bodyPr/>
        <a:lstStyle/>
        <a:p>
          <a:endParaRPr lang="nb-NO"/>
        </a:p>
      </dgm:t>
    </dgm:pt>
    <dgm:pt modelId="{16DC823A-BE47-40B2-A639-35E8F3325988}" type="pres">
      <dgm:prSet presAssocID="{C0390E41-F7A9-478A-8B2F-DFB51AE97B42}" presName="topArc2" presStyleLbl="parChTrans1D1" presStyleIdx="6" presStyleCnt="16"/>
      <dgm:spPr/>
      <dgm:t>
        <a:bodyPr/>
        <a:lstStyle/>
        <a:p>
          <a:endParaRPr lang="nb-NO"/>
        </a:p>
      </dgm:t>
    </dgm:pt>
    <dgm:pt modelId="{014168F7-C312-43F4-995A-691D7579C38C}" type="pres">
      <dgm:prSet presAssocID="{C0390E41-F7A9-478A-8B2F-DFB51AE97B42}" presName="bottomArc2" presStyleLbl="parChTrans1D1" presStyleIdx="7" presStyleCnt="16"/>
      <dgm:spPr/>
      <dgm:t>
        <a:bodyPr/>
        <a:lstStyle/>
        <a:p>
          <a:endParaRPr lang="nb-NO"/>
        </a:p>
      </dgm:t>
    </dgm:pt>
    <dgm:pt modelId="{2FBEA097-9EB9-416B-831F-FCAB665A6857}" type="pres">
      <dgm:prSet presAssocID="{C0390E41-F7A9-478A-8B2F-DFB51AE97B42}" presName="topConnNode2" presStyleLbl="node2" presStyleIdx="0" presStyleCnt="0"/>
      <dgm:spPr/>
      <dgm:t>
        <a:bodyPr/>
        <a:lstStyle/>
        <a:p>
          <a:endParaRPr lang="nb-NO"/>
        </a:p>
      </dgm:t>
    </dgm:pt>
    <dgm:pt modelId="{9F25216E-8855-4C9D-9EEE-CA04304D012B}" type="pres">
      <dgm:prSet presAssocID="{C0390E41-F7A9-478A-8B2F-DFB51AE97B42}" presName="hierChild4" presStyleCnt="0"/>
      <dgm:spPr/>
      <dgm:t>
        <a:bodyPr/>
        <a:lstStyle/>
        <a:p>
          <a:endParaRPr lang="nb-NO"/>
        </a:p>
      </dgm:t>
    </dgm:pt>
    <dgm:pt modelId="{7B1110EC-E258-4BF0-BC92-8F292AC00505}" type="pres">
      <dgm:prSet presAssocID="{1159BB36-32B3-4232-8EA2-B341C1FADA58}" presName="Name28" presStyleLbl="parChTrans1D3" presStyleIdx="1" presStyleCnt="3"/>
      <dgm:spPr/>
      <dgm:t>
        <a:bodyPr/>
        <a:lstStyle/>
        <a:p>
          <a:endParaRPr lang="nb-NO"/>
        </a:p>
      </dgm:t>
    </dgm:pt>
    <dgm:pt modelId="{4A640C2F-7B20-4012-BEBA-23773C8352ED}" type="pres">
      <dgm:prSet presAssocID="{7309257F-BA94-4E52-8971-3ED6F16774EF}" presName="hierRoot2" presStyleCnt="0">
        <dgm:presLayoutVars>
          <dgm:hierBranch val="init"/>
        </dgm:presLayoutVars>
      </dgm:prSet>
      <dgm:spPr/>
    </dgm:pt>
    <dgm:pt modelId="{B5B38D81-D9EB-403F-98D4-B33D1F2392A6}" type="pres">
      <dgm:prSet presAssocID="{7309257F-BA94-4E52-8971-3ED6F16774EF}" presName="rootComposite2" presStyleCnt="0"/>
      <dgm:spPr/>
    </dgm:pt>
    <dgm:pt modelId="{A0F79D06-FA0A-4897-8EA3-52FBFF3BC872}" type="pres">
      <dgm:prSet presAssocID="{7309257F-BA94-4E52-8971-3ED6F16774EF}" presName="rootText2" presStyleLbl="alignAcc1" presStyleIdx="0" presStyleCnt="0" custLinFactNeighborX="-42008" custLinFactNeighborY="6441">
        <dgm:presLayoutVars>
          <dgm:chPref val="3"/>
        </dgm:presLayoutVars>
      </dgm:prSet>
      <dgm:spPr/>
      <dgm:t>
        <a:bodyPr/>
        <a:lstStyle/>
        <a:p>
          <a:endParaRPr lang="nb-NO"/>
        </a:p>
      </dgm:t>
    </dgm:pt>
    <dgm:pt modelId="{66724CA4-9B8B-495B-8A01-5097F0BE777B}" type="pres">
      <dgm:prSet presAssocID="{7309257F-BA94-4E52-8971-3ED6F16774EF}" presName="topArc2" presStyleLbl="parChTrans1D1" presStyleIdx="8" presStyleCnt="16"/>
      <dgm:spPr/>
    </dgm:pt>
    <dgm:pt modelId="{7A2F52CF-8567-4C6B-AAC4-C5716D387E22}" type="pres">
      <dgm:prSet presAssocID="{7309257F-BA94-4E52-8971-3ED6F16774EF}" presName="bottomArc2" presStyleLbl="parChTrans1D1" presStyleIdx="9" presStyleCnt="16"/>
      <dgm:spPr/>
    </dgm:pt>
    <dgm:pt modelId="{6DD97C3C-337D-496D-A9F8-57D7C2CF1745}" type="pres">
      <dgm:prSet presAssocID="{7309257F-BA94-4E52-8971-3ED6F16774EF}" presName="topConnNode2" presStyleLbl="node3" presStyleIdx="0" presStyleCnt="0"/>
      <dgm:spPr/>
      <dgm:t>
        <a:bodyPr/>
        <a:lstStyle/>
        <a:p>
          <a:endParaRPr lang="nb-NO"/>
        </a:p>
      </dgm:t>
    </dgm:pt>
    <dgm:pt modelId="{670994F6-5E56-4F46-BEB0-76B1534AEEEB}" type="pres">
      <dgm:prSet presAssocID="{7309257F-BA94-4E52-8971-3ED6F16774EF}" presName="hierChild4" presStyleCnt="0"/>
      <dgm:spPr/>
    </dgm:pt>
    <dgm:pt modelId="{23718845-73BC-40EB-9FF9-5348B0284A06}" type="pres">
      <dgm:prSet presAssocID="{7309257F-BA94-4E52-8971-3ED6F16774EF}" presName="hierChild5" presStyleCnt="0"/>
      <dgm:spPr/>
    </dgm:pt>
    <dgm:pt modelId="{BA08534C-9BD7-4CBC-96D8-39D37604CDB4}" type="pres">
      <dgm:prSet presAssocID="{C0390E41-F7A9-478A-8B2F-DFB51AE97B42}" presName="hierChild5" presStyleCnt="0"/>
      <dgm:spPr/>
      <dgm:t>
        <a:bodyPr/>
        <a:lstStyle/>
        <a:p>
          <a:endParaRPr lang="nb-NO"/>
        </a:p>
      </dgm:t>
    </dgm:pt>
    <dgm:pt modelId="{4D41004A-B04F-47F9-B7B5-05EB26FF32A2}" type="pres">
      <dgm:prSet presAssocID="{5E59B1A8-7428-4084-80E1-6DBAB8CFCD3F}" presName="Name28" presStyleLbl="parChTrans1D2" presStyleIdx="2" presStyleCnt="4"/>
      <dgm:spPr/>
      <dgm:t>
        <a:bodyPr/>
        <a:lstStyle/>
        <a:p>
          <a:endParaRPr lang="nb-NO"/>
        </a:p>
      </dgm:t>
    </dgm:pt>
    <dgm:pt modelId="{79DC0C46-FAD1-4489-A49F-2DD0CA9AF8DB}" type="pres">
      <dgm:prSet presAssocID="{11D4A0A5-7AEC-406B-9831-F6B2FF1C7819}" presName="hierRoot2" presStyleCnt="0">
        <dgm:presLayoutVars>
          <dgm:hierBranch val="init"/>
        </dgm:presLayoutVars>
      </dgm:prSet>
      <dgm:spPr/>
      <dgm:t>
        <a:bodyPr/>
        <a:lstStyle/>
        <a:p>
          <a:endParaRPr lang="nb-NO"/>
        </a:p>
      </dgm:t>
    </dgm:pt>
    <dgm:pt modelId="{C8120D97-E9FF-4E8E-8924-D4500F3AE2C3}" type="pres">
      <dgm:prSet presAssocID="{11D4A0A5-7AEC-406B-9831-F6B2FF1C7819}" presName="rootComposite2" presStyleCnt="0"/>
      <dgm:spPr/>
      <dgm:t>
        <a:bodyPr/>
        <a:lstStyle/>
        <a:p>
          <a:endParaRPr lang="nb-NO"/>
        </a:p>
      </dgm:t>
    </dgm:pt>
    <dgm:pt modelId="{E0FE86D9-DFA7-49F7-9C09-4BBBE790F1D1}" type="pres">
      <dgm:prSet presAssocID="{11D4A0A5-7AEC-406B-9831-F6B2FF1C7819}" presName="rootText2" presStyleLbl="alignAcc1" presStyleIdx="0" presStyleCnt="0">
        <dgm:presLayoutVars>
          <dgm:chPref val="3"/>
        </dgm:presLayoutVars>
      </dgm:prSet>
      <dgm:spPr/>
      <dgm:t>
        <a:bodyPr/>
        <a:lstStyle/>
        <a:p>
          <a:endParaRPr lang="nb-NO"/>
        </a:p>
      </dgm:t>
    </dgm:pt>
    <dgm:pt modelId="{7E76A01F-1E5C-4970-AB65-6092DDC3B80B}" type="pres">
      <dgm:prSet presAssocID="{11D4A0A5-7AEC-406B-9831-F6B2FF1C7819}" presName="topArc2" presStyleLbl="parChTrans1D1" presStyleIdx="10" presStyleCnt="16"/>
      <dgm:spPr/>
      <dgm:t>
        <a:bodyPr/>
        <a:lstStyle/>
        <a:p>
          <a:endParaRPr lang="nb-NO"/>
        </a:p>
      </dgm:t>
    </dgm:pt>
    <dgm:pt modelId="{ED94A807-8F09-4F35-BF4D-497E6683C166}" type="pres">
      <dgm:prSet presAssocID="{11D4A0A5-7AEC-406B-9831-F6B2FF1C7819}" presName="bottomArc2" presStyleLbl="parChTrans1D1" presStyleIdx="11" presStyleCnt="16"/>
      <dgm:spPr/>
      <dgm:t>
        <a:bodyPr/>
        <a:lstStyle/>
        <a:p>
          <a:endParaRPr lang="nb-NO"/>
        </a:p>
      </dgm:t>
    </dgm:pt>
    <dgm:pt modelId="{D6801329-B33A-427E-B34F-72216FCDE1A2}" type="pres">
      <dgm:prSet presAssocID="{11D4A0A5-7AEC-406B-9831-F6B2FF1C7819}" presName="topConnNode2" presStyleLbl="node2" presStyleIdx="0" presStyleCnt="0"/>
      <dgm:spPr/>
      <dgm:t>
        <a:bodyPr/>
        <a:lstStyle/>
        <a:p>
          <a:endParaRPr lang="nb-NO"/>
        </a:p>
      </dgm:t>
    </dgm:pt>
    <dgm:pt modelId="{4CDA706E-A31F-4FC4-81C9-ED1564109C0D}" type="pres">
      <dgm:prSet presAssocID="{11D4A0A5-7AEC-406B-9831-F6B2FF1C7819}" presName="hierChild4" presStyleCnt="0"/>
      <dgm:spPr/>
      <dgm:t>
        <a:bodyPr/>
        <a:lstStyle/>
        <a:p>
          <a:endParaRPr lang="nb-NO"/>
        </a:p>
      </dgm:t>
    </dgm:pt>
    <dgm:pt modelId="{0D7106AB-60DF-4B40-B131-3A19F0328314}" type="pres">
      <dgm:prSet presAssocID="{60B5A788-BE02-4269-B9F3-667886DA1605}" presName="Name28" presStyleLbl="parChTrans1D3" presStyleIdx="2" presStyleCnt="3"/>
      <dgm:spPr/>
      <dgm:t>
        <a:bodyPr/>
        <a:lstStyle/>
        <a:p>
          <a:endParaRPr lang="nb-NO"/>
        </a:p>
      </dgm:t>
    </dgm:pt>
    <dgm:pt modelId="{6B421452-5963-4A3D-A6C7-F0D26379C325}" type="pres">
      <dgm:prSet presAssocID="{689CE518-45EE-429C-8A15-293957A2DD78}" presName="hierRoot2" presStyleCnt="0">
        <dgm:presLayoutVars>
          <dgm:hierBranch val="init"/>
        </dgm:presLayoutVars>
      </dgm:prSet>
      <dgm:spPr/>
    </dgm:pt>
    <dgm:pt modelId="{C65F2328-3ED8-412F-9F35-D3B5B70EB43B}" type="pres">
      <dgm:prSet presAssocID="{689CE518-45EE-429C-8A15-293957A2DD78}" presName="rootComposite2" presStyleCnt="0"/>
      <dgm:spPr/>
    </dgm:pt>
    <dgm:pt modelId="{C14067E7-A01B-438A-8083-AEF47EB7D8DD}" type="pres">
      <dgm:prSet presAssocID="{689CE518-45EE-429C-8A15-293957A2DD78}" presName="rootText2" presStyleLbl="alignAcc1" presStyleIdx="0" presStyleCnt="0" custLinFactNeighborX="-46272" custLinFactNeighborY="6441">
        <dgm:presLayoutVars>
          <dgm:chPref val="3"/>
        </dgm:presLayoutVars>
      </dgm:prSet>
      <dgm:spPr/>
      <dgm:t>
        <a:bodyPr/>
        <a:lstStyle/>
        <a:p>
          <a:endParaRPr lang="nb-NO"/>
        </a:p>
      </dgm:t>
    </dgm:pt>
    <dgm:pt modelId="{61269EEB-ECA6-4A6A-B677-DE325F68EAFE}" type="pres">
      <dgm:prSet presAssocID="{689CE518-45EE-429C-8A15-293957A2DD78}" presName="topArc2" presStyleLbl="parChTrans1D1" presStyleIdx="12" presStyleCnt="16"/>
      <dgm:spPr/>
    </dgm:pt>
    <dgm:pt modelId="{0730EF98-1CF8-409E-BD4F-F406814FCC36}" type="pres">
      <dgm:prSet presAssocID="{689CE518-45EE-429C-8A15-293957A2DD78}" presName="bottomArc2" presStyleLbl="parChTrans1D1" presStyleIdx="13" presStyleCnt="16"/>
      <dgm:spPr/>
    </dgm:pt>
    <dgm:pt modelId="{83C11A5F-574F-482F-BD3B-9A4E85BC10F5}" type="pres">
      <dgm:prSet presAssocID="{689CE518-45EE-429C-8A15-293957A2DD78}" presName="topConnNode2" presStyleLbl="node3" presStyleIdx="0" presStyleCnt="0"/>
      <dgm:spPr/>
      <dgm:t>
        <a:bodyPr/>
        <a:lstStyle/>
        <a:p>
          <a:endParaRPr lang="nb-NO"/>
        </a:p>
      </dgm:t>
    </dgm:pt>
    <dgm:pt modelId="{FAEF531C-0F12-407C-8FDF-23ADC9077750}" type="pres">
      <dgm:prSet presAssocID="{689CE518-45EE-429C-8A15-293957A2DD78}" presName="hierChild4" presStyleCnt="0"/>
      <dgm:spPr/>
    </dgm:pt>
    <dgm:pt modelId="{9FECB63A-4D19-4D0F-90A0-BCB738330CAD}" type="pres">
      <dgm:prSet presAssocID="{689CE518-45EE-429C-8A15-293957A2DD78}" presName="hierChild5" presStyleCnt="0"/>
      <dgm:spPr/>
    </dgm:pt>
    <dgm:pt modelId="{4D4F1E26-EB92-4C4C-B451-FE67472EDF63}" type="pres">
      <dgm:prSet presAssocID="{11D4A0A5-7AEC-406B-9831-F6B2FF1C7819}" presName="hierChild5" presStyleCnt="0"/>
      <dgm:spPr/>
      <dgm:t>
        <a:bodyPr/>
        <a:lstStyle/>
        <a:p>
          <a:endParaRPr lang="nb-NO"/>
        </a:p>
      </dgm:t>
    </dgm:pt>
    <dgm:pt modelId="{FF18B124-CCA7-4349-BBC8-E042AEED1384}" type="pres">
      <dgm:prSet presAssocID="{2CB9EF5A-12C8-408F-8C58-47B36070ED04}" presName="hierChild3" presStyleCnt="0"/>
      <dgm:spPr/>
      <dgm:t>
        <a:bodyPr/>
        <a:lstStyle/>
        <a:p>
          <a:endParaRPr lang="nb-NO"/>
        </a:p>
      </dgm:t>
    </dgm:pt>
    <dgm:pt modelId="{F0F4273D-132E-416B-BDEF-8A93A81B1ACB}" type="pres">
      <dgm:prSet presAssocID="{A6A4DE59-7C86-4A82-9A18-2C3FE0A71768}" presName="Name101" presStyleLbl="parChTrans1D2" presStyleIdx="3" presStyleCnt="4"/>
      <dgm:spPr/>
      <dgm:t>
        <a:bodyPr/>
        <a:lstStyle/>
        <a:p>
          <a:endParaRPr lang="nb-NO"/>
        </a:p>
      </dgm:t>
    </dgm:pt>
    <dgm:pt modelId="{F6F27A24-9CBC-4390-8202-5D87712A2F12}" type="pres">
      <dgm:prSet presAssocID="{C73C7B69-3DD4-4078-B949-1BD671B7321A}" presName="hierRoot3" presStyleCnt="0">
        <dgm:presLayoutVars>
          <dgm:hierBranch val="init"/>
        </dgm:presLayoutVars>
      </dgm:prSet>
      <dgm:spPr/>
      <dgm:t>
        <a:bodyPr/>
        <a:lstStyle/>
        <a:p>
          <a:endParaRPr lang="nb-NO"/>
        </a:p>
      </dgm:t>
    </dgm:pt>
    <dgm:pt modelId="{54A8845B-BCF8-4E42-AE9A-6C6886601C29}" type="pres">
      <dgm:prSet presAssocID="{C73C7B69-3DD4-4078-B949-1BD671B7321A}" presName="rootComposite3" presStyleCnt="0"/>
      <dgm:spPr/>
      <dgm:t>
        <a:bodyPr/>
        <a:lstStyle/>
        <a:p>
          <a:endParaRPr lang="nb-NO"/>
        </a:p>
      </dgm:t>
    </dgm:pt>
    <dgm:pt modelId="{6D470460-365E-4EDE-938A-597D33009411}" type="pres">
      <dgm:prSet presAssocID="{C73C7B69-3DD4-4078-B949-1BD671B7321A}" presName="rootText3" presStyleLbl="alignAcc1" presStyleIdx="0" presStyleCnt="0">
        <dgm:presLayoutVars>
          <dgm:chPref val="3"/>
        </dgm:presLayoutVars>
      </dgm:prSet>
      <dgm:spPr/>
      <dgm:t>
        <a:bodyPr/>
        <a:lstStyle/>
        <a:p>
          <a:endParaRPr lang="nb-NO"/>
        </a:p>
      </dgm:t>
    </dgm:pt>
    <dgm:pt modelId="{B5B02CCD-525A-4E48-AD4A-CEDD1980DE37}" type="pres">
      <dgm:prSet presAssocID="{C73C7B69-3DD4-4078-B949-1BD671B7321A}" presName="topArc3" presStyleLbl="parChTrans1D1" presStyleIdx="14" presStyleCnt="16"/>
      <dgm:spPr/>
      <dgm:t>
        <a:bodyPr/>
        <a:lstStyle/>
        <a:p>
          <a:endParaRPr lang="nb-NO"/>
        </a:p>
      </dgm:t>
    </dgm:pt>
    <dgm:pt modelId="{67B50A19-5AD6-4A18-933E-C3B1C089C286}" type="pres">
      <dgm:prSet presAssocID="{C73C7B69-3DD4-4078-B949-1BD671B7321A}" presName="bottomArc3" presStyleLbl="parChTrans1D1" presStyleIdx="15" presStyleCnt="16"/>
      <dgm:spPr/>
      <dgm:t>
        <a:bodyPr/>
        <a:lstStyle/>
        <a:p>
          <a:endParaRPr lang="nb-NO"/>
        </a:p>
      </dgm:t>
    </dgm:pt>
    <dgm:pt modelId="{56B9B989-E31C-4A18-944E-D7638B0C83C1}" type="pres">
      <dgm:prSet presAssocID="{C73C7B69-3DD4-4078-B949-1BD671B7321A}" presName="topConnNode3" presStyleLbl="asst0" presStyleIdx="0" presStyleCnt="0"/>
      <dgm:spPr/>
      <dgm:t>
        <a:bodyPr/>
        <a:lstStyle/>
        <a:p>
          <a:endParaRPr lang="nb-NO"/>
        </a:p>
      </dgm:t>
    </dgm:pt>
    <dgm:pt modelId="{9ADF3D92-130B-49B0-9BD6-E7153066ACF6}" type="pres">
      <dgm:prSet presAssocID="{C73C7B69-3DD4-4078-B949-1BD671B7321A}" presName="hierChild6" presStyleCnt="0"/>
      <dgm:spPr/>
      <dgm:t>
        <a:bodyPr/>
        <a:lstStyle/>
        <a:p>
          <a:endParaRPr lang="nb-NO"/>
        </a:p>
      </dgm:t>
    </dgm:pt>
    <dgm:pt modelId="{1EC71400-A036-419D-A735-DAC5F435060E}" type="pres">
      <dgm:prSet presAssocID="{C73C7B69-3DD4-4078-B949-1BD671B7321A}" presName="hierChild7" presStyleCnt="0"/>
      <dgm:spPr/>
      <dgm:t>
        <a:bodyPr/>
        <a:lstStyle/>
        <a:p>
          <a:endParaRPr lang="nb-NO"/>
        </a:p>
      </dgm:t>
    </dgm:pt>
  </dgm:ptLst>
  <dgm:cxnLst>
    <dgm:cxn modelId="{18E9237D-6FC9-44B7-AC83-42C39D82ED74}" type="presOf" srcId="{7309257F-BA94-4E52-8971-3ED6F16774EF}" destId="{A0F79D06-FA0A-4897-8EA3-52FBFF3BC872}" srcOrd="0" destOrd="0" presId="urn:microsoft.com/office/officeart/2008/layout/HalfCircleOrganizationChart"/>
    <dgm:cxn modelId="{EDF2ADDF-2A18-4509-899C-787C9EFA92F5}" type="presOf" srcId="{689CE518-45EE-429C-8A15-293957A2DD78}" destId="{83C11A5F-574F-482F-BD3B-9A4E85BC10F5}" srcOrd="1" destOrd="0" presId="urn:microsoft.com/office/officeart/2008/layout/HalfCircleOrganizationChart"/>
    <dgm:cxn modelId="{A3C25A2F-332D-431B-B9A7-6739304BD2E4}" srcId="{2CB9EF5A-12C8-408F-8C58-47B36070ED04}" destId="{C0390E41-F7A9-478A-8B2F-DFB51AE97B42}" srcOrd="1" destOrd="0" parTransId="{806964A2-8C8C-4A5D-A86E-1A59634D962C}" sibTransId="{C3F6FCFF-DD56-437A-BA99-5B8418796E9A}"/>
    <dgm:cxn modelId="{A55FE014-0DE4-4842-8A58-9928823EC9C0}" srcId="{2CB9EF5A-12C8-408F-8C58-47B36070ED04}" destId="{11D4A0A5-7AEC-406B-9831-F6B2FF1C7819}" srcOrd="2" destOrd="0" parTransId="{5E59B1A8-7428-4084-80E1-6DBAB8CFCD3F}" sibTransId="{67C1E245-13A8-4BB5-BE59-54F683E300D3}"/>
    <dgm:cxn modelId="{64DE3F2C-3E10-4406-BD3E-CC309EEF135E}" type="presOf" srcId="{A6A4DE59-7C86-4A82-9A18-2C3FE0A71768}" destId="{F0F4273D-132E-416B-BDEF-8A93A81B1ACB}" srcOrd="0" destOrd="0" presId="urn:microsoft.com/office/officeart/2008/layout/HalfCircleOrganizationChart"/>
    <dgm:cxn modelId="{0F27434E-E1C9-4274-BD54-A09972622275}" type="presOf" srcId="{2CB9EF5A-12C8-408F-8C58-47B36070ED04}" destId="{68515C0C-3535-4DEE-9500-19D26893CB6F}" srcOrd="1" destOrd="0" presId="urn:microsoft.com/office/officeart/2008/layout/HalfCircleOrganizationChart"/>
    <dgm:cxn modelId="{30CE2C03-3ADD-406D-A03E-C8DFDD22D1C6}" type="presOf" srcId="{C0390E41-F7A9-478A-8B2F-DFB51AE97B42}" destId="{2FBEA097-9EB9-416B-831F-FCAB665A6857}" srcOrd="1" destOrd="0" presId="urn:microsoft.com/office/officeart/2008/layout/HalfCircleOrganizationChart"/>
    <dgm:cxn modelId="{C6359822-294A-42DF-BD50-E43500A5B8A5}" type="presOf" srcId="{9F92C4C8-12DA-4FB6-840D-63688C3B324C}" destId="{1A5272A5-8947-43C4-A42B-4C4D6970B0D9}" srcOrd="0" destOrd="0" presId="urn:microsoft.com/office/officeart/2008/layout/HalfCircleOrganizationChart"/>
    <dgm:cxn modelId="{2FB1055D-B144-45FB-A5FA-832373DEABAE}" type="presOf" srcId="{7309257F-BA94-4E52-8971-3ED6F16774EF}" destId="{6DD97C3C-337D-496D-A9F8-57D7C2CF1745}" srcOrd="1" destOrd="0" presId="urn:microsoft.com/office/officeart/2008/layout/HalfCircleOrganizationChart"/>
    <dgm:cxn modelId="{4A705CEE-697B-424A-9994-A3DCBCC2E702}" srcId="{2CB9EF5A-12C8-408F-8C58-47B36070ED04}" destId="{C73C7B69-3DD4-4078-B949-1BD671B7321A}" srcOrd="3" destOrd="0" parTransId="{A6A4DE59-7C86-4A82-9A18-2C3FE0A71768}" sibTransId="{54E258FC-C125-47ED-B281-005088DCFB6C}"/>
    <dgm:cxn modelId="{497A9464-AF22-4321-B845-2EF5108373D7}" type="presOf" srcId="{689CE518-45EE-429C-8A15-293957A2DD78}" destId="{C14067E7-A01B-438A-8083-AEF47EB7D8DD}" srcOrd="0" destOrd="0" presId="urn:microsoft.com/office/officeart/2008/layout/HalfCircleOrganizationChart"/>
    <dgm:cxn modelId="{8EC0F535-C84D-4A34-9F04-0CA498D4207B}" type="presOf" srcId="{11D4A0A5-7AEC-406B-9831-F6B2FF1C7819}" destId="{E0FE86D9-DFA7-49F7-9C09-4BBBE790F1D1}" srcOrd="0" destOrd="0" presId="urn:microsoft.com/office/officeart/2008/layout/HalfCircleOrganizationChart"/>
    <dgm:cxn modelId="{E76A5A3E-65F1-47A8-ADD9-1809BF3989B3}" srcId="{7E6F5F1E-BAFE-4579-83F6-777B6EE9196F}" destId="{2CB9EF5A-12C8-408F-8C58-47B36070ED04}" srcOrd="0" destOrd="0" parTransId="{74EBE522-D14E-421E-9787-E8C9CC98CB55}" sibTransId="{9EF2726F-DBE7-4DC2-8E0F-976E0C929DBA}"/>
    <dgm:cxn modelId="{C9EC0DD8-5995-42EC-A664-EEB2B03E48EA}" type="presOf" srcId="{60B5A788-BE02-4269-B9F3-667886DA1605}" destId="{0D7106AB-60DF-4B40-B131-3A19F0328314}" srcOrd="0" destOrd="0" presId="urn:microsoft.com/office/officeart/2008/layout/HalfCircleOrganizationChart"/>
    <dgm:cxn modelId="{0A8CA4D1-29B0-4EBD-98F0-407623D7B220}" type="presOf" srcId="{2CB9EF5A-12C8-408F-8C58-47B36070ED04}" destId="{084955CE-AA0A-48FF-9F1C-CC86564EAC0A}" srcOrd="0" destOrd="0" presId="urn:microsoft.com/office/officeart/2008/layout/HalfCircleOrganizationChart"/>
    <dgm:cxn modelId="{D709BFB8-1221-4210-B247-C31D9C791B61}" type="presOf" srcId="{B0AFF44F-7DFA-474B-82EE-6EC6AEE9A622}" destId="{15D235F1-850B-435F-80DE-E99319BD95F5}" srcOrd="0" destOrd="0" presId="urn:microsoft.com/office/officeart/2008/layout/HalfCircleOrganizationChart"/>
    <dgm:cxn modelId="{2536D095-1D60-47C1-AC3C-70471047E4D8}" type="presOf" srcId="{40040EFC-F5A6-4AA3-AB4C-3B39E185915E}" destId="{7A01EDDB-D384-4369-9BB8-9CFC625675E1}" srcOrd="1" destOrd="0" presId="urn:microsoft.com/office/officeart/2008/layout/HalfCircleOrganizationChart"/>
    <dgm:cxn modelId="{9C31B9D1-300B-49B3-8B69-D0F99B0BCB32}" srcId="{11D4A0A5-7AEC-406B-9831-F6B2FF1C7819}" destId="{689CE518-45EE-429C-8A15-293957A2DD78}" srcOrd="0" destOrd="0" parTransId="{60B5A788-BE02-4269-B9F3-667886DA1605}" sibTransId="{B53AE1EF-29C9-4B6C-80D9-4AB744D421C9}"/>
    <dgm:cxn modelId="{B2197230-B3DC-4D26-96B7-D76C7FB49CEC}" type="presOf" srcId="{40040EFC-F5A6-4AA3-AB4C-3B39E185915E}" destId="{671B88A4-932E-4273-A3CB-21E885FC96C8}" srcOrd="0" destOrd="0" presId="urn:microsoft.com/office/officeart/2008/layout/HalfCircleOrganizationChart"/>
    <dgm:cxn modelId="{C2C97514-51B4-43EC-9305-73AFEEEAFCCC}" type="presOf" srcId="{C0390E41-F7A9-478A-8B2F-DFB51AE97B42}" destId="{0AA20F07-357D-4786-BE49-3C870500E251}" srcOrd="0" destOrd="0" presId="urn:microsoft.com/office/officeart/2008/layout/HalfCircleOrganizationChart"/>
    <dgm:cxn modelId="{5672987F-47A8-4104-BA89-893A490EC6C0}" type="presOf" srcId="{0297FACE-A37A-4714-AF03-81CF860C09A3}" destId="{731EE63E-C538-49AB-8CAE-D89C02E24DA4}" srcOrd="0" destOrd="0" presId="urn:microsoft.com/office/officeart/2008/layout/HalfCircleOrganizationChart"/>
    <dgm:cxn modelId="{44467919-EE53-4647-936B-515778978482}" type="presOf" srcId="{11D4A0A5-7AEC-406B-9831-F6B2FF1C7819}" destId="{D6801329-B33A-427E-B34F-72216FCDE1A2}" srcOrd="1" destOrd="0" presId="urn:microsoft.com/office/officeart/2008/layout/HalfCircleOrganizationChart"/>
    <dgm:cxn modelId="{ED80DC4A-9919-44EB-8D9A-3CF8F850998E}" srcId="{2CB9EF5A-12C8-408F-8C58-47B36070ED04}" destId="{B0AFF44F-7DFA-474B-82EE-6EC6AEE9A622}" srcOrd="0" destOrd="0" parTransId="{9F92C4C8-12DA-4FB6-840D-63688C3B324C}" sibTransId="{34DD687C-E294-497F-B6C3-293BA80F97E5}"/>
    <dgm:cxn modelId="{06CC0292-B8BB-4B36-9A4B-05F066D2429E}" srcId="{C0390E41-F7A9-478A-8B2F-DFB51AE97B42}" destId="{7309257F-BA94-4E52-8971-3ED6F16774EF}" srcOrd="0" destOrd="0" parTransId="{1159BB36-32B3-4232-8EA2-B341C1FADA58}" sibTransId="{13A038E1-BA3E-45DD-BFD0-1034D57A351A}"/>
    <dgm:cxn modelId="{577560A0-2B32-40FC-89DB-B7C897FACDA7}" type="presOf" srcId="{1159BB36-32B3-4232-8EA2-B341C1FADA58}" destId="{7B1110EC-E258-4BF0-BC92-8F292AC00505}" srcOrd="0" destOrd="0" presId="urn:microsoft.com/office/officeart/2008/layout/HalfCircleOrganizationChart"/>
    <dgm:cxn modelId="{00657985-836F-4FE5-BAF0-6CDFAA3128EC}" type="presOf" srcId="{7E6F5F1E-BAFE-4579-83F6-777B6EE9196F}" destId="{F504C135-961C-48A5-8F99-10447AECDDAC}" srcOrd="0" destOrd="0" presId="urn:microsoft.com/office/officeart/2008/layout/HalfCircleOrganizationChart"/>
    <dgm:cxn modelId="{6DFEE837-C3F3-4EEF-9C7D-CB7E67C9F9C5}" type="presOf" srcId="{806964A2-8C8C-4A5D-A86E-1A59634D962C}" destId="{AFE24DC6-7547-4A87-B383-0B93A2738868}" srcOrd="0" destOrd="0" presId="urn:microsoft.com/office/officeart/2008/layout/HalfCircleOrganizationChart"/>
    <dgm:cxn modelId="{9A197534-403C-437F-A4C5-0E8FC07A3189}" type="presOf" srcId="{C73C7B69-3DD4-4078-B949-1BD671B7321A}" destId="{6D470460-365E-4EDE-938A-597D33009411}" srcOrd="0" destOrd="0" presId="urn:microsoft.com/office/officeart/2008/layout/HalfCircleOrganizationChart"/>
    <dgm:cxn modelId="{59ADE87D-4639-4FE9-BE70-8DDCCAAB33CD}" type="presOf" srcId="{C73C7B69-3DD4-4078-B949-1BD671B7321A}" destId="{56B9B989-E31C-4A18-944E-D7638B0C83C1}" srcOrd="1" destOrd="0" presId="urn:microsoft.com/office/officeart/2008/layout/HalfCircleOrganizationChart"/>
    <dgm:cxn modelId="{3B47ABDB-CDC1-4E47-9561-6330212DFCBD}" type="presOf" srcId="{5E59B1A8-7428-4084-80E1-6DBAB8CFCD3F}" destId="{4D41004A-B04F-47F9-B7B5-05EB26FF32A2}" srcOrd="0" destOrd="0" presId="urn:microsoft.com/office/officeart/2008/layout/HalfCircleOrganizationChart"/>
    <dgm:cxn modelId="{85FD577B-2AEE-4F13-94ED-04EF4552525A}" srcId="{B0AFF44F-7DFA-474B-82EE-6EC6AEE9A622}" destId="{40040EFC-F5A6-4AA3-AB4C-3B39E185915E}" srcOrd="0" destOrd="0" parTransId="{0297FACE-A37A-4714-AF03-81CF860C09A3}" sibTransId="{FD21905F-BDAD-4987-AD8C-6EF944FB13BB}"/>
    <dgm:cxn modelId="{1EC898C0-E680-43E0-9A60-AD6B06BFB5DC}" type="presOf" srcId="{B0AFF44F-7DFA-474B-82EE-6EC6AEE9A622}" destId="{BBE3BF37-61A3-4D8F-8CF9-4CD3F700B9EC}" srcOrd="1" destOrd="0" presId="urn:microsoft.com/office/officeart/2008/layout/HalfCircleOrganizationChart"/>
    <dgm:cxn modelId="{A34C1A34-1434-4A40-9DB5-B6F9914FF432}" type="presParOf" srcId="{F504C135-961C-48A5-8F99-10447AECDDAC}" destId="{84DEDCC9-7FE8-43BB-B588-F43C90C81F24}" srcOrd="0" destOrd="0" presId="urn:microsoft.com/office/officeart/2008/layout/HalfCircleOrganizationChart"/>
    <dgm:cxn modelId="{8214564D-DB2E-48E2-9F39-276370B45230}" type="presParOf" srcId="{84DEDCC9-7FE8-43BB-B588-F43C90C81F24}" destId="{B483706E-A350-42A9-9A17-C0212688EB61}" srcOrd="0" destOrd="0" presId="urn:microsoft.com/office/officeart/2008/layout/HalfCircleOrganizationChart"/>
    <dgm:cxn modelId="{832B9409-305A-494D-BCE0-54FB177F0ABE}" type="presParOf" srcId="{B483706E-A350-42A9-9A17-C0212688EB61}" destId="{084955CE-AA0A-48FF-9F1C-CC86564EAC0A}" srcOrd="0" destOrd="0" presId="urn:microsoft.com/office/officeart/2008/layout/HalfCircleOrganizationChart"/>
    <dgm:cxn modelId="{5770DDDD-0308-4FF6-83BE-7E20283620EC}" type="presParOf" srcId="{B483706E-A350-42A9-9A17-C0212688EB61}" destId="{DE469B22-771B-4220-924E-099B3903D84C}" srcOrd="1" destOrd="0" presId="urn:microsoft.com/office/officeart/2008/layout/HalfCircleOrganizationChart"/>
    <dgm:cxn modelId="{FEC60787-0939-4470-AC32-5E3CC06095F9}" type="presParOf" srcId="{B483706E-A350-42A9-9A17-C0212688EB61}" destId="{E25352A8-3764-41C7-BAFC-6675A23B0149}" srcOrd="2" destOrd="0" presId="urn:microsoft.com/office/officeart/2008/layout/HalfCircleOrganizationChart"/>
    <dgm:cxn modelId="{15296437-F8A1-42D5-A05A-F032D8171855}" type="presParOf" srcId="{B483706E-A350-42A9-9A17-C0212688EB61}" destId="{68515C0C-3535-4DEE-9500-19D26893CB6F}" srcOrd="3" destOrd="0" presId="urn:microsoft.com/office/officeart/2008/layout/HalfCircleOrganizationChart"/>
    <dgm:cxn modelId="{2869CB37-30C8-4803-B344-A48220EF112A}" type="presParOf" srcId="{84DEDCC9-7FE8-43BB-B588-F43C90C81F24}" destId="{CAB908E7-3C71-42C5-9BB5-8C8FC6A908FF}" srcOrd="1" destOrd="0" presId="urn:microsoft.com/office/officeart/2008/layout/HalfCircleOrganizationChart"/>
    <dgm:cxn modelId="{7F4EF00A-E978-4017-AA99-994AE5CC58D8}" type="presParOf" srcId="{CAB908E7-3C71-42C5-9BB5-8C8FC6A908FF}" destId="{1A5272A5-8947-43C4-A42B-4C4D6970B0D9}" srcOrd="0" destOrd="0" presId="urn:microsoft.com/office/officeart/2008/layout/HalfCircleOrganizationChart"/>
    <dgm:cxn modelId="{A8A6B5C7-AF0D-4527-99F4-EF87EE8E67F7}" type="presParOf" srcId="{CAB908E7-3C71-42C5-9BB5-8C8FC6A908FF}" destId="{ED5FE49B-F98A-4032-A28A-9F22911E6E93}" srcOrd="1" destOrd="0" presId="urn:microsoft.com/office/officeart/2008/layout/HalfCircleOrganizationChart"/>
    <dgm:cxn modelId="{DEDAFB14-DF40-4950-B99D-7CA6D2B42495}" type="presParOf" srcId="{ED5FE49B-F98A-4032-A28A-9F22911E6E93}" destId="{751576A6-EEE6-488C-AF61-BE89F1081826}" srcOrd="0" destOrd="0" presId="urn:microsoft.com/office/officeart/2008/layout/HalfCircleOrganizationChart"/>
    <dgm:cxn modelId="{5B010B4A-926E-43D9-BA95-F567679DA0D0}" type="presParOf" srcId="{751576A6-EEE6-488C-AF61-BE89F1081826}" destId="{15D235F1-850B-435F-80DE-E99319BD95F5}" srcOrd="0" destOrd="0" presId="urn:microsoft.com/office/officeart/2008/layout/HalfCircleOrganizationChart"/>
    <dgm:cxn modelId="{A1005A0C-E670-43BE-8479-218BB6237551}" type="presParOf" srcId="{751576A6-EEE6-488C-AF61-BE89F1081826}" destId="{BDC62397-0068-4962-B00D-1F393D3EDC3D}" srcOrd="1" destOrd="0" presId="urn:microsoft.com/office/officeart/2008/layout/HalfCircleOrganizationChart"/>
    <dgm:cxn modelId="{B46EAB27-D8E6-4811-8132-3E2D965C3F11}" type="presParOf" srcId="{751576A6-EEE6-488C-AF61-BE89F1081826}" destId="{6E849477-E0D8-4EA7-95C6-AB7F434AC580}" srcOrd="2" destOrd="0" presId="urn:microsoft.com/office/officeart/2008/layout/HalfCircleOrganizationChart"/>
    <dgm:cxn modelId="{559E2403-3EAC-41A3-ABC9-6C1CF8D6FCFC}" type="presParOf" srcId="{751576A6-EEE6-488C-AF61-BE89F1081826}" destId="{BBE3BF37-61A3-4D8F-8CF9-4CD3F700B9EC}" srcOrd="3" destOrd="0" presId="urn:microsoft.com/office/officeart/2008/layout/HalfCircleOrganizationChart"/>
    <dgm:cxn modelId="{A398099D-76DF-4A9B-A671-05CBF7D660E4}" type="presParOf" srcId="{ED5FE49B-F98A-4032-A28A-9F22911E6E93}" destId="{4945E5D8-44DA-47BA-B40F-92860E9025F8}" srcOrd="1" destOrd="0" presId="urn:microsoft.com/office/officeart/2008/layout/HalfCircleOrganizationChart"/>
    <dgm:cxn modelId="{50420379-2CA8-4D52-A1F1-2E4BDE3DF392}" type="presParOf" srcId="{4945E5D8-44DA-47BA-B40F-92860E9025F8}" destId="{731EE63E-C538-49AB-8CAE-D89C02E24DA4}" srcOrd="0" destOrd="0" presId="urn:microsoft.com/office/officeart/2008/layout/HalfCircleOrganizationChart"/>
    <dgm:cxn modelId="{617B401E-71E9-488D-85B9-AE923AD02E99}" type="presParOf" srcId="{4945E5D8-44DA-47BA-B40F-92860E9025F8}" destId="{580FC79C-88F5-4E42-BE48-8E3926E218A9}" srcOrd="1" destOrd="0" presId="urn:microsoft.com/office/officeart/2008/layout/HalfCircleOrganizationChart"/>
    <dgm:cxn modelId="{22B6C864-24C7-4C75-AFEE-DD63191E2410}" type="presParOf" srcId="{580FC79C-88F5-4E42-BE48-8E3926E218A9}" destId="{746A1B90-7854-48B2-87B2-A341ADF88131}" srcOrd="0" destOrd="0" presId="urn:microsoft.com/office/officeart/2008/layout/HalfCircleOrganizationChart"/>
    <dgm:cxn modelId="{679C14F5-1D09-4240-8E44-41BD942A25E8}" type="presParOf" srcId="{746A1B90-7854-48B2-87B2-A341ADF88131}" destId="{671B88A4-932E-4273-A3CB-21E885FC96C8}" srcOrd="0" destOrd="0" presId="urn:microsoft.com/office/officeart/2008/layout/HalfCircleOrganizationChart"/>
    <dgm:cxn modelId="{A80EED9B-D050-49F6-B99B-01B8C2D6169C}" type="presParOf" srcId="{746A1B90-7854-48B2-87B2-A341ADF88131}" destId="{31D49255-F1D0-4A8F-B06F-1ED4674DBA19}" srcOrd="1" destOrd="0" presId="urn:microsoft.com/office/officeart/2008/layout/HalfCircleOrganizationChart"/>
    <dgm:cxn modelId="{F4EEC19C-466E-4403-9AEE-64ACC0E5A5B1}" type="presParOf" srcId="{746A1B90-7854-48B2-87B2-A341ADF88131}" destId="{51D26BB3-9194-4C96-BE59-AF034841698E}" srcOrd="2" destOrd="0" presId="urn:microsoft.com/office/officeart/2008/layout/HalfCircleOrganizationChart"/>
    <dgm:cxn modelId="{F5DA674E-9E00-4D09-836F-6AA0270497BB}" type="presParOf" srcId="{746A1B90-7854-48B2-87B2-A341ADF88131}" destId="{7A01EDDB-D384-4369-9BB8-9CFC625675E1}" srcOrd="3" destOrd="0" presId="urn:microsoft.com/office/officeart/2008/layout/HalfCircleOrganizationChart"/>
    <dgm:cxn modelId="{C7BFDE41-BD61-4FB4-8F02-41BAB925B5D8}" type="presParOf" srcId="{580FC79C-88F5-4E42-BE48-8E3926E218A9}" destId="{BD5A5DB1-18BA-4DB0-8022-5541837678B5}" srcOrd="1" destOrd="0" presId="urn:microsoft.com/office/officeart/2008/layout/HalfCircleOrganizationChart"/>
    <dgm:cxn modelId="{A622C92A-A60F-4D34-971F-A7007C0960D7}" type="presParOf" srcId="{580FC79C-88F5-4E42-BE48-8E3926E218A9}" destId="{11D67FBE-2B8E-4D92-BAEC-A15FB305B596}" srcOrd="2" destOrd="0" presId="urn:microsoft.com/office/officeart/2008/layout/HalfCircleOrganizationChart"/>
    <dgm:cxn modelId="{40A1C2DF-6654-4DE8-917F-4615850C8D5A}" type="presParOf" srcId="{ED5FE49B-F98A-4032-A28A-9F22911E6E93}" destId="{A1E244B6-775D-485C-BDA1-2BB28075DE43}" srcOrd="2" destOrd="0" presId="urn:microsoft.com/office/officeart/2008/layout/HalfCircleOrganizationChart"/>
    <dgm:cxn modelId="{3E5DF12F-A0B2-46DE-86DF-79597596B5EE}" type="presParOf" srcId="{CAB908E7-3C71-42C5-9BB5-8C8FC6A908FF}" destId="{AFE24DC6-7547-4A87-B383-0B93A2738868}" srcOrd="2" destOrd="0" presId="urn:microsoft.com/office/officeart/2008/layout/HalfCircleOrganizationChart"/>
    <dgm:cxn modelId="{F6309622-FA35-4509-80AB-AE6DBE76B378}" type="presParOf" srcId="{CAB908E7-3C71-42C5-9BB5-8C8FC6A908FF}" destId="{5C481143-30F5-4BC1-9989-CA9D22524670}" srcOrd="3" destOrd="0" presId="urn:microsoft.com/office/officeart/2008/layout/HalfCircleOrganizationChart"/>
    <dgm:cxn modelId="{196E7351-24C2-41B7-8EB1-668E9011EC10}" type="presParOf" srcId="{5C481143-30F5-4BC1-9989-CA9D22524670}" destId="{CF59BAF5-E693-4160-8CCB-C1CCAFFB8ED2}" srcOrd="0" destOrd="0" presId="urn:microsoft.com/office/officeart/2008/layout/HalfCircleOrganizationChart"/>
    <dgm:cxn modelId="{E23EA291-7CFD-4253-919E-549DBBF970BE}" type="presParOf" srcId="{CF59BAF5-E693-4160-8CCB-C1CCAFFB8ED2}" destId="{0AA20F07-357D-4786-BE49-3C870500E251}" srcOrd="0" destOrd="0" presId="urn:microsoft.com/office/officeart/2008/layout/HalfCircleOrganizationChart"/>
    <dgm:cxn modelId="{986E5291-1416-4B3B-AD53-70D278F6BC47}" type="presParOf" srcId="{CF59BAF5-E693-4160-8CCB-C1CCAFFB8ED2}" destId="{16DC823A-BE47-40B2-A639-35E8F3325988}" srcOrd="1" destOrd="0" presId="urn:microsoft.com/office/officeart/2008/layout/HalfCircleOrganizationChart"/>
    <dgm:cxn modelId="{7C08A183-B91B-46BB-A5B6-912B0369C560}" type="presParOf" srcId="{CF59BAF5-E693-4160-8CCB-C1CCAFFB8ED2}" destId="{014168F7-C312-43F4-995A-691D7579C38C}" srcOrd="2" destOrd="0" presId="urn:microsoft.com/office/officeart/2008/layout/HalfCircleOrganizationChart"/>
    <dgm:cxn modelId="{E9BF1DEB-B5B5-4663-BE0D-1CD07336C264}" type="presParOf" srcId="{CF59BAF5-E693-4160-8CCB-C1CCAFFB8ED2}" destId="{2FBEA097-9EB9-416B-831F-FCAB665A6857}" srcOrd="3" destOrd="0" presId="urn:microsoft.com/office/officeart/2008/layout/HalfCircleOrganizationChart"/>
    <dgm:cxn modelId="{364F76DB-3970-490D-99BC-A1F6E3767065}" type="presParOf" srcId="{5C481143-30F5-4BC1-9989-CA9D22524670}" destId="{9F25216E-8855-4C9D-9EEE-CA04304D012B}" srcOrd="1" destOrd="0" presId="urn:microsoft.com/office/officeart/2008/layout/HalfCircleOrganizationChart"/>
    <dgm:cxn modelId="{9DE93982-B60E-4DDB-8BFA-B3D1BBF788F1}" type="presParOf" srcId="{9F25216E-8855-4C9D-9EEE-CA04304D012B}" destId="{7B1110EC-E258-4BF0-BC92-8F292AC00505}" srcOrd="0" destOrd="0" presId="urn:microsoft.com/office/officeart/2008/layout/HalfCircleOrganizationChart"/>
    <dgm:cxn modelId="{AE49E343-3C8B-4924-B57F-E97759D691AC}" type="presParOf" srcId="{9F25216E-8855-4C9D-9EEE-CA04304D012B}" destId="{4A640C2F-7B20-4012-BEBA-23773C8352ED}" srcOrd="1" destOrd="0" presId="urn:microsoft.com/office/officeart/2008/layout/HalfCircleOrganizationChart"/>
    <dgm:cxn modelId="{6575CEF1-0983-4565-B39D-F9765118A492}" type="presParOf" srcId="{4A640C2F-7B20-4012-BEBA-23773C8352ED}" destId="{B5B38D81-D9EB-403F-98D4-B33D1F2392A6}" srcOrd="0" destOrd="0" presId="urn:microsoft.com/office/officeart/2008/layout/HalfCircleOrganizationChart"/>
    <dgm:cxn modelId="{CCBA4034-3D2D-4EBD-B10E-302C94E1F4C2}" type="presParOf" srcId="{B5B38D81-D9EB-403F-98D4-B33D1F2392A6}" destId="{A0F79D06-FA0A-4897-8EA3-52FBFF3BC872}" srcOrd="0" destOrd="0" presId="urn:microsoft.com/office/officeart/2008/layout/HalfCircleOrganizationChart"/>
    <dgm:cxn modelId="{0EA54759-802A-40CB-B485-909EB7C55BE5}" type="presParOf" srcId="{B5B38D81-D9EB-403F-98D4-B33D1F2392A6}" destId="{66724CA4-9B8B-495B-8A01-5097F0BE777B}" srcOrd="1" destOrd="0" presId="urn:microsoft.com/office/officeart/2008/layout/HalfCircleOrganizationChart"/>
    <dgm:cxn modelId="{DBCD88D2-499D-4B5A-BE6A-C9D495A29C7E}" type="presParOf" srcId="{B5B38D81-D9EB-403F-98D4-B33D1F2392A6}" destId="{7A2F52CF-8567-4C6B-AAC4-C5716D387E22}" srcOrd="2" destOrd="0" presId="urn:microsoft.com/office/officeart/2008/layout/HalfCircleOrganizationChart"/>
    <dgm:cxn modelId="{6F72DFD3-9C05-47EB-A0CC-1C36BBB8269C}" type="presParOf" srcId="{B5B38D81-D9EB-403F-98D4-B33D1F2392A6}" destId="{6DD97C3C-337D-496D-A9F8-57D7C2CF1745}" srcOrd="3" destOrd="0" presId="urn:microsoft.com/office/officeart/2008/layout/HalfCircleOrganizationChart"/>
    <dgm:cxn modelId="{32417666-73CB-4C1A-847D-2EED69B1FC29}" type="presParOf" srcId="{4A640C2F-7B20-4012-BEBA-23773C8352ED}" destId="{670994F6-5E56-4F46-BEB0-76B1534AEEEB}" srcOrd="1" destOrd="0" presId="urn:microsoft.com/office/officeart/2008/layout/HalfCircleOrganizationChart"/>
    <dgm:cxn modelId="{FAB3AC28-5A1E-4283-A210-F1734D6CA70A}" type="presParOf" srcId="{4A640C2F-7B20-4012-BEBA-23773C8352ED}" destId="{23718845-73BC-40EB-9FF9-5348B0284A06}" srcOrd="2" destOrd="0" presId="urn:microsoft.com/office/officeart/2008/layout/HalfCircleOrganizationChart"/>
    <dgm:cxn modelId="{FCE77090-B836-4CD7-B187-E9E3AE14EF7A}" type="presParOf" srcId="{5C481143-30F5-4BC1-9989-CA9D22524670}" destId="{BA08534C-9BD7-4CBC-96D8-39D37604CDB4}" srcOrd="2" destOrd="0" presId="urn:microsoft.com/office/officeart/2008/layout/HalfCircleOrganizationChart"/>
    <dgm:cxn modelId="{C8E1A1B0-8F24-44B0-AD6E-352430586107}" type="presParOf" srcId="{CAB908E7-3C71-42C5-9BB5-8C8FC6A908FF}" destId="{4D41004A-B04F-47F9-B7B5-05EB26FF32A2}" srcOrd="4" destOrd="0" presId="urn:microsoft.com/office/officeart/2008/layout/HalfCircleOrganizationChart"/>
    <dgm:cxn modelId="{D5CFC834-97D1-41DF-8B8C-3AB6A45B398D}" type="presParOf" srcId="{CAB908E7-3C71-42C5-9BB5-8C8FC6A908FF}" destId="{79DC0C46-FAD1-4489-A49F-2DD0CA9AF8DB}" srcOrd="5" destOrd="0" presId="urn:microsoft.com/office/officeart/2008/layout/HalfCircleOrganizationChart"/>
    <dgm:cxn modelId="{41AEE61A-4025-4534-BB08-996671C0A743}" type="presParOf" srcId="{79DC0C46-FAD1-4489-A49F-2DD0CA9AF8DB}" destId="{C8120D97-E9FF-4E8E-8924-D4500F3AE2C3}" srcOrd="0" destOrd="0" presId="urn:microsoft.com/office/officeart/2008/layout/HalfCircleOrganizationChart"/>
    <dgm:cxn modelId="{AA22E69F-283C-4866-8C24-4CD888DE8295}" type="presParOf" srcId="{C8120D97-E9FF-4E8E-8924-D4500F3AE2C3}" destId="{E0FE86D9-DFA7-49F7-9C09-4BBBE790F1D1}" srcOrd="0" destOrd="0" presId="urn:microsoft.com/office/officeart/2008/layout/HalfCircleOrganizationChart"/>
    <dgm:cxn modelId="{C543E7FA-641B-414C-B6D8-68B79E034A35}" type="presParOf" srcId="{C8120D97-E9FF-4E8E-8924-D4500F3AE2C3}" destId="{7E76A01F-1E5C-4970-AB65-6092DDC3B80B}" srcOrd="1" destOrd="0" presId="urn:microsoft.com/office/officeart/2008/layout/HalfCircleOrganizationChart"/>
    <dgm:cxn modelId="{98106AE9-4CC4-4A73-B566-5163DD4F802B}" type="presParOf" srcId="{C8120D97-E9FF-4E8E-8924-D4500F3AE2C3}" destId="{ED94A807-8F09-4F35-BF4D-497E6683C166}" srcOrd="2" destOrd="0" presId="urn:microsoft.com/office/officeart/2008/layout/HalfCircleOrganizationChart"/>
    <dgm:cxn modelId="{C5415884-A741-4431-AE9D-9A2B2E99279D}" type="presParOf" srcId="{C8120D97-E9FF-4E8E-8924-D4500F3AE2C3}" destId="{D6801329-B33A-427E-B34F-72216FCDE1A2}" srcOrd="3" destOrd="0" presId="urn:microsoft.com/office/officeart/2008/layout/HalfCircleOrganizationChart"/>
    <dgm:cxn modelId="{CFE78C2F-5FC6-4290-9238-1A54BCE40DB0}" type="presParOf" srcId="{79DC0C46-FAD1-4489-A49F-2DD0CA9AF8DB}" destId="{4CDA706E-A31F-4FC4-81C9-ED1564109C0D}" srcOrd="1" destOrd="0" presId="urn:microsoft.com/office/officeart/2008/layout/HalfCircleOrganizationChart"/>
    <dgm:cxn modelId="{E191291F-9EBF-4F0C-9D35-F8E49612EE37}" type="presParOf" srcId="{4CDA706E-A31F-4FC4-81C9-ED1564109C0D}" destId="{0D7106AB-60DF-4B40-B131-3A19F0328314}" srcOrd="0" destOrd="0" presId="urn:microsoft.com/office/officeart/2008/layout/HalfCircleOrganizationChart"/>
    <dgm:cxn modelId="{E8A00F20-8BDD-4D83-B891-565020512214}" type="presParOf" srcId="{4CDA706E-A31F-4FC4-81C9-ED1564109C0D}" destId="{6B421452-5963-4A3D-A6C7-F0D26379C325}" srcOrd="1" destOrd="0" presId="urn:microsoft.com/office/officeart/2008/layout/HalfCircleOrganizationChart"/>
    <dgm:cxn modelId="{661245CE-7D6E-4740-B8B7-A5B267E56E3A}" type="presParOf" srcId="{6B421452-5963-4A3D-A6C7-F0D26379C325}" destId="{C65F2328-3ED8-412F-9F35-D3B5B70EB43B}" srcOrd="0" destOrd="0" presId="urn:microsoft.com/office/officeart/2008/layout/HalfCircleOrganizationChart"/>
    <dgm:cxn modelId="{D3B3A633-FB2A-49C7-B85A-6323810EBFB3}" type="presParOf" srcId="{C65F2328-3ED8-412F-9F35-D3B5B70EB43B}" destId="{C14067E7-A01B-438A-8083-AEF47EB7D8DD}" srcOrd="0" destOrd="0" presId="urn:microsoft.com/office/officeart/2008/layout/HalfCircleOrganizationChart"/>
    <dgm:cxn modelId="{F758DD46-21BB-45C6-84F5-9B23EAAB6FBD}" type="presParOf" srcId="{C65F2328-3ED8-412F-9F35-D3B5B70EB43B}" destId="{61269EEB-ECA6-4A6A-B677-DE325F68EAFE}" srcOrd="1" destOrd="0" presId="urn:microsoft.com/office/officeart/2008/layout/HalfCircleOrganizationChart"/>
    <dgm:cxn modelId="{98AFD1B9-224A-4B7F-8E5C-926FB6220DD8}" type="presParOf" srcId="{C65F2328-3ED8-412F-9F35-D3B5B70EB43B}" destId="{0730EF98-1CF8-409E-BD4F-F406814FCC36}" srcOrd="2" destOrd="0" presId="urn:microsoft.com/office/officeart/2008/layout/HalfCircleOrganizationChart"/>
    <dgm:cxn modelId="{DFCA61C8-6943-42A0-AA62-0A6E50A2C4C1}" type="presParOf" srcId="{C65F2328-3ED8-412F-9F35-D3B5B70EB43B}" destId="{83C11A5F-574F-482F-BD3B-9A4E85BC10F5}" srcOrd="3" destOrd="0" presId="urn:microsoft.com/office/officeart/2008/layout/HalfCircleOrganizationChart"/>
    <dgm:cxn modelId="{E5DCC91C-E212-4572-83D0-37973DED48B1}" type="presParOf" srcId="{6B421452-5963-4A3D-A6C7-F0D26379C325}" destId="{FAEF531C-0F12-407C-8FDF-23ADC9077750}" srcOrd="1" destOrd="0" presId="urn:microsoft.com/office/officeart/2008/layout/HalfCircleOrganizationChart"/>
    <dgm:cxn modelId="{4C1946F4-9FFE-4D39-82D1-7C37072CEBD3}" type="presParOf" srcId="{6B421452-5963-4A3D-A6C7-F0D26379C325}" destId="{9FECB63A-4D19-4D0F-90A0-BCB738330CAD}" srcOrd="2" destOrd="0" presId="urn:microsoft.com/office/officeart/2008/layout/HalfCircleOrganizationChart"/>
    <dgm:cxn modelId="{7408755D-8EA9-4D17-B650-6A3301A47035}" type="presParOf" srcId="{79DC0C46-FAD1-4489-A49F-2DD0CA9AF8DB}" destId="{4D4F1E26-EB92-4C4C-B451-FE67472EDF63}" srcOrd="2" destOrd="0" presId="urn:microsoft.com/office/officeart/2008/layout/HalfCircleOrganizationChart"/>
    <dgm:cxn modelId="{D3ECE070-894F-478A-82AB-631F4EAC233A}" type="presParOf" srcId="{84DEDCC9-7FE8-43BB-B588-F43C90C81F24}" destId="{FF18B124-CCA7-4349-BBC8-E042AEED1384}" srcOrd="2" destOrd="0" presId="urn:microsoft.com/office/officeart/2008/layout/HalfCircleOrganizationChart"/>
    <dgm:cxn modelId="{D1DCB41E-AEC4-42F2-94B6-30684B538155}" type="presParOf" srcId="{FF18B124-CCA7-4349-BBC8-E042AEED1384}" destId="{F0F4273D-132E-416B-BDEF-8A93A81B1ACB}" srcOrd="0" destOrd="0" presId="urn:microsoft.com/office/officeart/2008/layout/HalfCircleOrganizationChart"/>
    <dgm:cxn modelId="{FBF107A5-3E74-4FF6-A573-31738F59BA13}" type="presParOf" srcId="{FF18B124-CCA7-4349-BBC8-E042AEED1384}" destId="{F6F27A24-9CBC-4390-8202-5D87712A2F12}" srcOrd="1" destOrd="0" presId="urn:microsoft.com/office/officeart/2008/layout/HalfCircleOrganizationChart"/>
    <dgm:cxn modelId="{3B05B693-1899-4B02-BC3D-7F2C91FFB20E}" type="presParOf" srcId="{F6F27A24-9CBC-4390-8202-5D87712A2F12}" destId="{54A8845B-BCF8-4E42-AE9A-6C6886601C29}" srcOrd="0" destOrd="0" presId="urn:microsoft.com/office/officeart/2008/layout/HalfCircleOrganizationChart"/>
    <dgm:cxn modelId="{DB3CE2D3-F75A-49DD-9B9A-5A5A1EC7EF72}" type="presParOf" srcId="{54A8845B-BCF8-4E42-AE9A-6C6886601C29}" destId="{6D470460-365E-4EDE-938A-597D33009411}" srcOrd="0" destOrd="0" presId="urn:microsoft.com/office/officeart/2008/layout/HalfCircleOrganizationChart"/>
    <dgm:cxn modelId="{7FF318C3-55D1-43BE-88E3-E648ACF37D41}" type="presParOf" srcId="{54A8845B-BCF8-4E42-AE9A-6C6886601C29}" destId="{B5B02CCD-525A-4E48-AD4A-CEDD1980DE37}" srcOrd="1" destOrd="0" presId="urn:microsoft.com/office/officeart/2008/layout/HalfCircleOrganizationChart"/>
    <dgm:cxn modelId="{37D0B99E-EB7D-4CD5-AC5A-7D262CFB6DC2}" type="presParOf" srcId="{54A8845B-BCF8-4E42-AE9A-6C6886601C29}" destId="{67B50A19-5AD6-4A18-933E-C3B1C089C286}" srcOrd="2" destOrd="0" presId="urn:microsoft.com/office/officeart/2008/layout/HalfCircleOrganizationChart"/>
    <dgm:cxn modelId="{40AE53BD-B656-4EF3-B503-BEC242B26B69}" type="presParOf" srcId="{54A8845B-BCF8-4E42-AE9A-6C6886601C29}" destId="{56B9B989-E31C-4A18-944E-D7638B0C83C1}" srcOrd="3" destOrd="0" presId="urn:microsoft.com/office/officeart/2008/layout/HalfCircleOrganizationChart"/>
    <dgm:cxn modelId="{E22B5916-ABB4-472C-8C2E-1C9475C4A6C4}" type="presParOf" srcId="{F6F27A24-9CBC-4390-8202-5D87712A2F12}" destId="{9ADF3D92-130B-49B0-9BD6-E7153066ACF6}" srcOrd="1" destOrd="0" presId="urn:microsoft.com/office/officeart/2008/layout/HalfCircleOrganizationChart"/>
    <dgm:cxn modelId="{A1D47082-CE34-4E86-B197-ADD88D1550F5}" type="presParOf" srcId="{F6F27A24-9CBC-4390-8202-5D87712A2F12}" destId="{1EC71400-A036-419D-A735-DAC5F435060E}" srcOrd="2" destOrd="0" presId="urn:microsoft.com/office/officeart/2008/layout/HalfCircleOrganizationChar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D1EDD5C-0110-43E8-8DBD-82B7885C25CE}" type="doc">
      <dgm:prSet loTypeId="urn:microsoft.com/office/officeart/2008/layout/HalfCircleOrganizationChart" loCatId="hierarchy" qsTypeId="urn:microsoft.com/office/officeart/2005/8/quickstyle/simple1" qsCatId="simple" csTypeId="urn:microsoft.com/office/officeart/2005/8/colors/accent1_2" csCatId="accent1" phldr="1"/>
      <dgm:spPr/>
      <dgm:t>
        <a:bodyPr/>
        <a:lstStyle/>
        <a:p>
          <a:endParaRPr lang="nb-NO"/>
        </a:p>
      </dgm:t>
    </dgm:pt>
    <dgm:pt modelId="{C0FF6F65-76A2-4F59-BDA2-1B0F274590C1}">
      <dgm:prSet phldrT="[Tekst]" custT="1"/>
      <dgm:spPr/>
      <dgm:t>
        <a:bodyPr/>
        <a:lstStyle/>
        <a:p>
          <a:r>
            <a:rPr lang="nb-NO" sz="1000" b="1" dirty="0" smtClean="0"/>
            <a:t>Rektor: Terje</a:t>
          </a:r>
        </a:p>
        <a:p>
          <a:r>
            <a:rPr lang="nb-NO" sz="1000" b="1" dirty="0" smtClean="0"/>
            <a:t>(100 %) </a:t>
          </a:r>
        </a:p>
        <a:p>
          <a:endParaRPr lang="nb-NO" sz="1000" dirty="0"/>
        </a:p>
      </dgm:t>
    </dgm:pt>
    <dgm:pt modelId="{62E2E515-8AD7-4833-A31B-3E4BCA317BE8}" type="parTrans" cxnId="{4061E749-58E3-4DB6-AAC9-E93807B943AC}">
      <dgm:prSet/>
      <dgm:spPr/>
      <dgm:t>
        <a:bodyPr/>
        <a:lstStyle/>
        <a:p>
          <a:endParaRPr lang="nb-NO" sz="1000"/>
        </a:p>
      </dgm:t>
    </dgm:pt>
    <dgm:pt modelId="{57EA86BA-8DA7-44DE-AD07-986B3B0B6964}" type="sibTrans" cxnId="{4061E749-58E3-4DB6-AAC9-E93807B943AC}">
      <dgm:prSet/>
      <dgm:spPr/>
      <dgm:t>
        <a:bodyPr/>
        <a:lstStyle/>
        <a:p>
          <a:endParaRPr lang="nb-NO" sz="1000"/>
        </a:p>
      </dgm:t>
    </dgm:pt>
    <dgm:pt modelId="{6E969318-30C9-4244-805B-5BAC833BC550}" type="asst">
      <dgm:prSet phldrT="[Tekst]" custT="1"/>
      <dgm:spPr/>
      <dgm:t>
        <a:bodyPr/>
        <a:lstStyle/>
        <a:p>
          <a:r>
            <a:rPr lang="nb-NO" sz="1000" b="1" dirty="0" smtClean="0"/>
            <a:t>Ass. rektor: Anne-Grethe</a:t>
          </a:r>
        </a:p>
        <a:p>
          <a:r>
            <a:rPr lang="nb-NO" sz="1000" b="1" dirty="0" smtClean="0"/>
            <a:t>(100 %) </a:t>
          </a:r>
        </a:p>
        <a:p>
          <a:endParaRPr lang="nb-NO" sz="1000" dirty="0"/>
        </a:p>
      </dgm:t>
    </dgm:pt>
    <dgm:pt modelId="{59E1553B-5A98-4B26-B6CE-8D20165138D5}" type="parTrans" cxnId="{0E1173B9-21A8-4805-BE66-557FE783AB04}">
      <dgm:prSet/>
      <dgm:spPr/>
      <dgm:t>
        <a:bodyPr/>
        <a:lstStyle/>
        <a:p>
          <a:endParaRPr lang="nb-NO" sz="1000"/>
        </a:p>
      </dgm:t>
    </dgm:pt>
    <dgm:pt modelId="{98905981-4DB0-4526-B57A-5DC7A8FD91AD}" type="sibTrans" cxnId="{0E1173B9-21A8-4805-BE66-557FE783AB04}">
      <dgm:prSet/>
      <dgm:spPr/>
      <dgm:t>
        <a:bodyPr/>
        <a:lstStyle/>
        <a:p>
          <a:endParaRPr lang="nb-NO" sz="1000"/>
        </a:p>
      </dgm:t>
    </dgm:pt>
    <dgm:pt modelId="{3578FE86-D083-4319-A5BB-36F9EBA25684}">
      <dgm:prSet phldrT="[Tekst]" custT="1"/>
      <dgm:spPr/>
      <dgm:t>
        <a:bodyPr/>
        <a:lstStyle/>
        <a:p>
          <a:r>
            <a:rPr lang="nb-NO" sz="1000" b="1" dirty="0" err="1" smtClean="0"/>
            <a:t>Avd.leder</a:t>
          </a:r>
          <a:r>
            <a:rPr lang="nb-NO" sz="1000" b="1" dirty="0" smtClean="0"/>
            <a:t> EL/TIP/RM/HS: Pål (100 %) </a:t>
          </a:r>
        </a:p>
        <a:p>
          <a:endParaRPr lang="nb-NO" sz="1000" dirty="0"/>
        </a:p>
      </dgm:t>
    </dgm:pt>
    <dgm:pt modelId="{50818CA9-259C-41F6-8435-012572B10F0A}" type="parTrans" cxnId="{632EA92B-4321-4AA3-8DF2-6243D3BC36BB}">
      <dgm:prSet/>
      <dgm:spPr/>
      <dgm:t>
        <a:bodyPr/>
        <a:lstStyle/>
        <a:p>
          <a:endParaRPr lang="nb-NO" sz="1000"/>
        </a:p>
      </dgm:t>
    </dgm:pt>
    <dgm:pt modelId="{3B9BFF2A-BA07-4EE0-A0E3-49861E5EFD2A}" type="sibTrans" cxnId="{632EA92B-4321-4AA3-8DF2-6243D3BC36BB}">
      <dgm:prSet/>
      <dgm:spPr/>
      <dgm:t>
        <a:bodyPr/>
        <a:lstStyle/>
        <a:p>
          <a:endParaRPr lang="nb-NO" sz="1000"/>
        </a:p>
      </dgm:t>
    </dgm:pt>
    <dgm:pt modelId="{9DD754B7-0D15-4FE6-AF0A-3706848474F2}">
      <dgm:prSet phldrT="[Tekst]" custT="1"/>
      <dgm:spPr/>
      <dgm:t>
        <a:bodyPr/>
        <a:lstStyle/>
        <a:p>
          <a:r>
            <a:rPr lang="nb-NO" sz="1000" b="1" dirty="0" err="1" smtClean="0"/>
            <a:t>Avd.leder</a:t>
          </a:r>
          <a:r>
            <a:rPr lang="nb-NO" sz="1000" b="1" dirty="0" smtClean="0"/>
            <a:t> FF: Jorunn</a:t>
          </a:r>
        </a:p>
        <a:p>
          <a:r>
            <a:rPr lang="nb-NO" sz="1000" b="1" dirty="0" smtClean="0"/>
            <a:t>(100 %)</a:t>
          </a:r>
        </a:p>
        <a:p>
          <a:endParaRPr lang="nb-NO" sz="1000" dirty="0"/>
        </a:p>
      </dgm:t>
    </dgm:pt>
    <dgm:pt modelId="{ABA99C0B-25A3-490D-8B00-889CE5C8CC1C}" type="parTrans" cxnId="{A6F67979-ACC9-42FF-9287-A086C5951305}">
      <dgm:prSet/>
      <dgm:spPr/>
      <dgm:t>
        <a:bodyPr/>
        <a:lstStyle/>
        <a:p>
          <a:endParaRPr lang="nb-NO" sz="1000"/>
        </a:p>
      </dgm:t>
    </dgm:pt>
    <dgm:pt modelId="{2DC76230-C833-426D-B50B-E38432111BCC}" type="sibTrans" cxnId="{A6F67979-ACC9-42FF-9287-A086C5951305}">
      <dgm:prSet/>
      <dgm:spPr/>
      <dgm:t>
        <a:bodyPr/>
        <a:lstStyle/>
        <a:p>
          <a:endParaRPr lang="nb-NO" sz="1000"/>
        </a:p>
      </dgm:t>
    </dgm:pt>
    <dgm:pt modelId="{8659A857-3DA3-401F-A218-F20630800DEB}">
      <dgm:prSet phldrT="[Tekst]" custT="1"/>
      <dgm:spPr/>
      <dgm:t>
        <a:bodyPr/>
        <a:lstStyle/>
        <a:p>
          <a:r>
            <a:rPr lang="nb-NO" sz="1000" b="1" dirty="0" err="1" smtClean="0"/>
            <a:t>Avd.leder</a:t>
          </a:r>
          <a:r>
            <a:rPr lang="nb-NO" sz="1000" b="1" dirty="0" smtClean="0"/>
            <a:t> MK/MDD/SS/SSP FO: Åshild </a:t>
          </a:r>
        </a:p>
        <a:p>
          <a:r>
            <a:rPr lang="nb-NO" sz="1000" b="1" dirty="0" smtClean="0"/>
            <a:t>(100 %)</a:t>
          </a:r>
          <a:endParaRPr lang="nb-NO" sz="1000" b="1" dirty="0"/>
        </a:p>
      </dgm:t>
    </dgm:pt>
    <dgm:pt modelId="{26A2751D-279C-485C-8D7A-FE72367FFB56}" type="parTrans" cxnId="{3578BAF0-4B1C-4924-8916-22F00BE3DF76}">
      <dgm:prSet/>
      <dgm:spPr/>
      <dgm:t>
        <a:bodyPr/>
        <a:lstStyle/>
        <a:p>
          <a:endParaRPr lang="nb-NO" sz="1000"/>
        </a:p>
      </dgm:t>
    </dgm:pt>
    <dgm:pt modelId="{AB855B58-385B-4373-9D4F-B7CF7A035DA9}" type="sibTrans" cxnId="{3578BAF0-4B1C-4924-8916-22F00BE3DF76}">
      <dgm:prSet/>
      <dgm:spPr/>
      <dgm:t>
        <a:bodyPr/>
        <a:lstStyle/>
        <a:p>
          <a:endParaRPr lang="nb-NO" sz="1000"/>
        </a:p>
      </dgm:t>
    </dgm:pt>
    <dgm:pt modelId="{02040671-ECF9-4859-909C-0DF513ADFFB7}">
      <dgm:prSet custT="1"/>
      <dgm:spPr/>
      <dgm:t>
        <a:bodyPr/>
        <a:lstStyle/>
        <a:p>
          <a:r>
            <a:rPr lang="nb-NO" sz="900" b="1" dirty="0" smtClean="0"/>
            <a:t>Stab</a:t>
          </a:r>
          <a:r>
            <a:rPr lang="nb-NO" sz="900" dirty="0" smtClean="0"/>
            <a:t>: </a:t>
          </a:r>
          <a:r>
            <a:rPr lang="nb-NO" sz="900" b="1" dirty="0" smtClean="0"/>
            <a:t>Seniorrådgiver personal/merkantil, kontorpersonalet, rådgivere, IKT,  bibliotek, drift, </a:t>
          </a:r>
          <a:r>
            <a:rPr lang="nb-NO" sz="900" b="1" dirty="0" err="1" smtClean="0"/>
            <a:t>miljøarb</a:t>
          </a:r>
          <a:r>
            <a:rPr lang="nb-NO" sz="900" b="1" dirty="0" smtClean="0"/>
            <a:t>.</a:t>
          </a:r>
          <a:endParaRPr lang="nb-NO" sz="900" b="1" dirty="0"/>
        </a:p>
      </dgm:t>
    </dgm:pt>
    <dgm:pt modelId="{EA7809FD-13D5-424A-82D1-89915B0A66A5}" type="parTrans" cxnId="{466D594D-506B-46F0-9E2C-E73D2102350F}">
      <dgm:prSet/>
      <dgm:spPr/>
      <dgm:t>
        <a:bodyPr/>
        <a:lstStyle/>
        <a:p>
          <a:endParaRPr lang="nb-NO" sz="1000"/>
        </a:p>
      </dgm:t>
    </dgm:pt>
    <dgm:pt modelId="{09D4B1D9-64D4-4170-B032-3CA76A48A53B}" type="sibTrans" cxnId="{466D594D-506B-46F0-9E2C-E73D2102350F}">
      <dgm:prSet/>
      <dgm:spPr/>
      <dgm:t>
        <a:bodyPr/>
        <a:lstStyle/>
        <a:p>
          <a:endParaRPr lang="nb-NO" sz="1000"/>
        </a:p>
      </dgm:t>
    </dgm:pt>
    <dgm:pt modelId="{6FEF065A-BE59-43A5-BA24-C18E4AF4DAFF}">
      <dgm:prSet custT="1"/>
      <dgm:spPr/>
      <dgm:t>
        <a:bodyPr/>
        <a:lstStyle/>
        <a:p>
          <a:r>
            <a:rPr lang="nb-NO" sz="1000" b="1" dirty="0" err="1" smtClean="0"/>
            <a:t>Avd.leder</a:t>
          </a:r>
          <a:r>
            <a:rPr lang="nb-NO" sz="1000" b="1" dirty="0" smtClean="0"/>
            <a:t> TO: Bjørn </a:t>
          </a:r>
        </a:p>
        <a:p>
          <a:r>
            <a:rPr lang="nb-NO" sz="1000" b="1" dirty="0" smtClean="0"/>
            <a:t>(100 % )</a:t>
          </a:r>
        </a:p>
        <a:p>
          <a:endParaRPr lang="nb-NO" sz="1000" dirty="0"/>
        </a:p>
      </dgm:t>
    </dgm:pt>
    <dgm:pt modelId="{72791E7B-65FF-4715-A60C-B7B2DF7D4BC1}" type="parTrans" cxnId="{E69C1791-23C5-4099-9933-9907C93F7366}">
      <dgm:prSet/>
      <dgm:spPr/>
      <dgm:t>
        <a:bodyPr/>
        <a:lstStyle/>
        <a:p>
          <a:endParaRPr lang="nb-NO" sz="1000"/>
        </a:p>
      </dgm:t>
    </dgm:pt>
    <dgm:pt modelId="{A5C67124-F3CD-4BFE-866C-EB4511692725}" type="sibTrans" cxnId="{E69C1791-23C5-4099-9933-9907C93F7366}">
      <dgm:prSet/>
      <dgm:spPr/>
      <dgm:t>
        <a:bodyPr/>
        <a:lstStyle/>
        <a:p>
          <a:endParaRPr lang="nb-NO" sz="1000"/>
        </a:p>
      </dgm:t>
    </dgm:pt>
    <dgm:pt modelId="{3DC6D03C-A556-4698-ABDD-91DB700899BD}">
      <dgm:prSet custT="1"/>
      <dgm:spPr/>
      <dgm:t>
        <a:bodyPr/>
        <a:lstStyle/>
        <a:p>
          <a:r>
            <a:rPr lang="nb-NO" sz="1000" b="1" dirty="0" smtClean="0"/>
            <a:t>FGL MK: Sissel, FGL MDD</a:t>
          </a:r>
          <a:r>
            <a:rPr lang="nb-NO" sz="1000" b="1" smtClean="0"/>
            <a:t>: Ketil, </a:t>
          </a:r>
          <a:r>
            <a:rPr lang="nb-NO" sz="1000" b="1" dirty="0" smtClean="0"/>
            <a:t>FGL SS: Svein Ove, FGL SSP FO: Kristin</a:t>
          </a:r>
          <a:endParaRPr lang="nb-NO" sz="1000" b="1" dirty="0"/>
        </a:p>
      </dgm:t>
    </dgm:pt>
    <dgm:pt modelId="{9119E708-B7EC-4761-9B64-8E892B3829E0}" type="parTrans" cxnId="{2311B84D-57B4-41D2-B92B-FFA4F21D0393}">
      <dgm:prSet/>
      <dgm:spPr/>
      <dgm:t>
        <a:bodyPr/>
        <a:lstStyle/>
        <a:p>
          <a:endParaRPr lang="nb-NO" sz="1000"/>
        </a:p>
      </dgm:t>
    </dgm:pt>
    <dgm:pt modelId="{BFBF06B9-CA37-4517-8DA3-5A806E1AD2E2}" type="sibTrans" cxnId="{2311B84D-57B4-41D2-B92B-FFA4F21D0393}">
      <dgm:prSet/>
      <dgm:spPr/>
      <dgm:t>
        <a:bodyPr/>
        <a:lstStyle/>
        <a:p>
          <a:endParaRPr lang="nb-NO" sz="1000"/>
        </a:p>
      </dgm:t>
    </dgm:pt>
    <dgm:pt modelId="{237132DA-4442-4213-9262-183C0525A24A}">
      <dgm:prSet custT="1"/>
      <dgm:spPr/>
      <dgm:t>
        <a:bodyPr/>
        <a:lstStyle/>
        <a:p>
          <a:r>
            <a:rPr lang="nb-NO" sz="1000" b="1" dirty="0" smtClean="0"/>
            <a:t>FGL Språkfag: Beate, FGL </a:t>
          </a:r>
          <a:r>
            <a:rPr lang="nb-NO" sz="1000" b="1" dirty="0" err="1" smtClean="0"/>
            <a:t>Samf.fag</a:t>
          </a:r>
          <a:r>
            <a:rPr lang="nb-NO" sz="1000" b="1" dirty="0" smtClean="0"/>
            <a:t>: Sigbjørn, FGL Realfag/KRØ: Rein, </a:t>
          </a:r>
          <a:r>
            <a:rPr lang="nb-NO" sz="1000" b="1" smtClean="0"/>
            <a:t>FGL Norsk</a:t>
          </a:r>
          <a:r>
            <a:rPr lang="nb-NO" sz="1000" b="1" dirty="0" smtClean="0"/>
            <a:t>: Britt Guro</a:t>
          </a:r>
          <a:endParaRPr lang="nb-NO" sz="1000" b="1" dirty="0"/>
        </a:p>
      </dgm:t>
    </dgm:pt>
    <dgm:pt modelId="{FB38DE50-87DB-40CC-A8FB-3AABCC0F9B60}" type="parTrans" cxnId="{0F12CA37-4783-4D71-AD5A-6C1B5951BB23}">
      <dgm:prSet/>
      <dgm:spPr/>
      <dgm:t>
        <a:bodyPr/>
        <a:lstStyle/>
        <a:p>
          <a:endParaRPr lang="nb-NO" sz="1000"/>
        </a:p>
      </dgm:t>
    </dgm:pt>
    <dgm:pt modelId="{88AB689E-9C0F-4859-93CB-0766DB7B3CB7}" type="sibTrans" cxnId="{0F12CA37-4783-4D71-AD5A-6C1B5951BB23}">
      <dgm:prSet/>
      <dgm:spPr/>
      <dgm:t>
        <a:bodyPr/>
        <a:lstStyle/>
        <a:p>
          <a:endParaRPr lang="nb-NO" sz="1000"/>
        </a:p>
      </dgm:t>
    </dgm:pt>
    <dgm:pt modelId="{712460EB-0957-4E88-853A-D84FB246929E}">
      <dgm:prSet custT="1"/>
      <dgm:spPr/>
      <dgm:t>
        <a:bodyPr/>
        <a:lstStyle/>
        <a:p>
          <a:r>
            <a:rPr lang="nb-NO" sz="1000" b="1" dirty="0" smtClean="0"/>
            <a:t>FGL EL: Tage, FGL TIP: Tom, FGL RM Mai-Gull, FGL HS: Monica</a:t>
          </a:r>
          <a:endParaRPr lang="nb-NO" sz="1000" b="1" dirty="0"/>
        </a:p>
      </dgm:t>
    </dgm:pt>
    <dgm:pt modelId="{A6B65C68-CAD9-48A5-A782-BC01C8A34C50}" type="parTrans" cxnId="{B0F97D6D-9A8D-4287-9DAA-DF3D314B0264}">
      <dgm:prSet/>
      <dgm:spPr/>
      <dgm:t>
        <a:bodyPr/>
        <a:lstStyle/>
        <a:p>
          <a:endParaRPr lang="nb-NO" sz="1000"/>
        </a:p>
      </dgm:t>
    </dgm:pt>
    <dgm:pt modelId="{D94AC3BF-0B6F-4367-91CE-0F627CF097C0}" type="sibTrans" cxnId="{B0F97D6D-9A8D-4287-9DAA-DF3D314B0264}">
      <dgm:prSet/>
      <dgm:spPr/>
      <dgm:t>
        <a:bodyPr/>
        <a:lstStyle/>
        <a:p>
          <a:endParaRPr lang="nb-NO" sz="1000"/>
        </a:p>
      </dgm:t>
    </dgm:pt>
    <dgm:pt modelId="{CE523411-6478-4781-999A-22D415DA327D}">
      <dgm:prSet custT="1"/>
      <dgm:spPr/>
      <dgm:t>
        <a:bodyPr/>
        <a:lstStyle/>
        <a:p>
          <a:r>
            <a:rPr lang="nb-NO" sz="1000" b="1" dirty="0" smtClean="0"/>
            <a:t>FGL DH/BA: Siri, FGL TIP/SS/RM: Ivar, FGL NA/MDD/ID: Lise, FGL Ass.: Anne Beate</a:t>
          </a:r>
          <a:endParaRPr lang="nb-NO" sz="1000" b="1" dirty="0"/>
        </a:p>
      </dgm:t>
    </dgm:pt>
    <dgm:pt modelId="{886E8C02-E723-47FA-A3C5-EC3F4E30E7AC}" type="parTrans" cxnId="{55BB1F08-6C24-49A1-B8E3-4557A6F4AF67}">
      <dgm:prSet/>
      <dgm:spPr/>
      <dgm:t>
        <a:bodyPr/>
        <a:lstStyle/>
        <a:p>
          <a:endParaRPr lang="nb-NO" sz="1000"/>
        </a:p>
      </dgm:t>
    </dgm:pt>
    <dgm:pt modelId="{7AE3E145-3732-4A59-98B9-1A9960017B5C}" type="sibTrans" cxnId="{55BB1F08-6C24-49A1-B8E3-4557A6F4AF67}">
      <dgm:prSet/>
      <dgm:spPr/>
      <dgm:t>
        <a:bodyPr/>
        <a:lstStyle/>
        <a:p>
          <a:endParaRPr lang="nb-NO" sz="1000"/>
        </a:p>
      </dgm:t>
    </dgm:pt>
    <dgm:pt modelId="{73A47AF9-67D8-4F18-98B4-B61C9F85A21D}">
      <dgm:prSet custT="1"/>
      <dgm:spPr/>
      <dgm:t>
        <a:bodyPr/>
        <a:lstStyle/>
        <a:p>
          <a:r>
            <a:rPr lang="nb-NO" sz="1400" dirty="0" smtClean="0"/>
            <a:t>Lærere EL/TIP/RM/HS:</a:t>
          </a:r>
        </a:p>
        <a:p>
          <a:r>
            <a:rPr lang="nb-NO" sz="1400" dirty="0" smtClean="0"/>
            <a:t>21</a:t>
          </a:r>
          <a:endParaRPr lang="nb-NO" sz="1400" dirty="0"/>
        </a:p>
      </dgm:t>
    </dgm:pt>
    <dgm:pt modelId="{EE4559B6-9549-4B9A-B4ED-72CA2EA3B763}" type="parTrans" cxnId="{0FFA9CCB-4971-405C-86BE-FB7E8C960FE6}">
      <dgm:prSet/>
      <dgm:spPr/>
      <dgm:t>
        <a:bodyPr/>
        <a:lstStyle/>
        <a:p>
          <a:endParaRPr lang="nb-NO"/>
        </a:p>
      </dgm:t>
    </dgm:pt>
    <dgm:pt modelId="{3B53EC4A-B5D0-4BE2-9852-4739A1749B8F}" type="sibTrans" cxnId="{0FFA9CCB-4971-405C-86BE-FB7E8C960FE6}">
      <dgm:prSet/>
      <dgm:spPr/>
      <dgm:t>
        <a:bodyPr/>
        <a:lstStyle/>
        <a:p>
          <a:endParaRPr lang="nb-NO"/>
        </a:p>
      </dgm:t>
    </dgm:pt>
    <dgm:pt modelId="{F98D81DA-1A53-4A71-96B4-790E4A2B7ECC}">
      <dgm:prSet custT="1"/>
      <dgm:spPr/>
      <dgm:t>
        <a:bodyPr/>
        <a:lstStyle/>
        <a:p>
          <a:r>
            <a:rPr lang="nb-NO" sz="1400" dirty="0" smtClean="0"/>
            <a:t>Lærere FF:</a:t>
          </a:r>
        </a:p>
        <a:p>
          <a:r>
            <a:rPr lang="nb-NO" sz="1400" dirty="0" smtClean="0"/>
            <a:t>32</a:t>
          </a:r>
          <a:endParaRPr lang="nb-NO" sz="1400" dirty="0"/>
        </a:p>
      </dgm:t>
    </dgm:pt>
    <dgm:pt modelId="{97E0E870-27F6-4CAA-B207-4DD07DD04EE5}" type="parTrans" cxnId="{CB6054B7-8BA5-4BB2-91A5-A6604782FE5D}">
      <dgm:prSet/>
      <dgm:spPr/>
      <dgm:t>
        <a:bodyPr/>
        <a:lstStyle/>
        <a:p>
          <a:endParaRPr lang="nb-NO"/>
        </a:p>
      </dgm:t>
    </dgm:pt>
    <dgm:pt modelId="{CF513ACF-7B5D-4069-A0B0-5872D5A6E7CB}" type="sibTrans" cxnId="{CB6054B7-8BA5-4BB2-91A5-A6604782FE5D}">
      <dgm:prSet/>
      <dgm:spPr/>
      <dgm:t>
        <a:bodyPr/>
        <a:lstStyle/>
        <a:p>
          <a:endParaRPr lang="nb-NO"/>
        </a:p>
      </dgm:t>
    </dgm:pt>
    <dgm:pt modelId="{B1CACA60-96CE-48A9-8803-0512FE67510F}">
      <dgm:prSet custT="1"/>
      <dgm:spPr/>
      <dgm:t>
        <a:bodyPr/>
        <a:lstStyle/>
        <a:p>
          <a:r>
            <a:rPr lang="nb-NO" sz="1400" dirty="0" smtClean="0"/>
            <a:t>Lærere MK/MDD/SS/SSP FO:</a:t>
          </a:r>
        </a:p>
        <a:p>
          <a:r>
            <a:rPr lang="nb-NO" sz="1400" dirty="0" smtClean="0"/>
            <a:t>18</a:t>
          </a:r>
          <a:endParaRPr lang="nb-NO" sz="1400" dirty="0"/>
        </a:p>
      </dgm:t>
    </dgm:pt>
    <dgm:pt modelId="{44ACD6C5-8D09-4C39-AFA2-2C3E3B09D46D}" type="parTrans" cxnId="{2D8B510B-EB2A-457D-8AD8-87FFB73044C6}">
      <dgm:prSet/>
      <dgm:spPr/>
      <dgm:t>
        <a:bodyPr/>
        <a:lstStyle/>
        <a:p>
          <a:endParaRPr lang="nb-NO"/>
        </a:p>
      </dgm:t>
    </dgm:pt>
    <dgm:pt modelId="{21CE7B2D-3E98-4AA5-BA5B-7ED26044103A}" type="sibTrans" cxnId="{2D8B510B-EB2A-457D-8AD8-87FFB73044C6}">
      <dgm:prSet/>
      <dgm:spPr/>
      <dgm:t>
        <a:bodyPr/>
        <a:lstStyle/>
        <a:p>
          <a:endParaRPr lang="nb-NO"/>
        </a:p>
      </dgm:t>
    </dgm:pt>
    <dgm:pt modelId="{9EF7D523-1FE5-4B03-A144-6674991BDDD6}">
      <dgm:prSet custT="1"/>
      <dgm:spPr/>
      <dgm:t>
        <a:bodyPr/>
        <a:lstStyle/>
        <a:p>
          <a:r>
            <a:rPr lang="nb-NO" sz="1600" dirty="0" smtClean="0"/>
            <a:t>Lærere/ass. TO: 31</a:t>
          </a:r>
          <a:endParaRPr lang="nb-NO" sz="1600" dirty="0"/>
        </a:p>
      </dgm:t>
    </dgm:pt>
    <dgm:pt modelId="{49D74C2D-52A6-4CE7-B5E6-1B8F07890639}" type="parTrans" cxnId="{7FAD8D81-E49C-40D6-BB65-8138AEAD06C7}">
      <dgm:prSet/>
      <dgm:spPr/>
      <dgm:t>
        <a:bodyPr/>
        <a:lstStyle/>
        <a:p>
          <a:endParaRPr lang="nb-NO"/>
        </a:p>
      </dgm:t>
    </dgm:pt>
    <dgm:pt modelId="{1E4C5146-4281-44D6-B410-0CB2E0EB7829}" type="sibTrans" cxnId="{7FAD8D81-E49C-40D6-BB65-8138AEAD06C7}">
      <dgm:prSet/>
      <dgm:spPr/>
      <dgm:t>
        <a:bodyPr/>
        <a:lstStyle/>
        <a:p>
          <a:endParaRPr lang="nb-NO"/>
        </a:p>
      </dgm:t>
    </dgm:pt>
    <dgm:pt modelId="{265D85BF-E1AB-42B2-8F8C-1E663C97260F}" type="pres">
      <dgm:prSet presAssocID="{7D1EDD5C-0110-43E8-8DBD-82B7885C25CE}" presName="Name0" presStyleCnt="0">
        <dgm:presLayoutVars>
          <dgm:orgChart val="1"/>
          <dgm:chPref val="1"/>
          <dgm:dir/>
          <dgm:animOne val="branch"/>
          <dgm:animLvl val="lvl"/>
          <dgm:resizeHandles/>
        </dgm:presLayoutVars>
      </dgm:prSet>
      <dgm:spPr/>
      <dgm:t>
        <a:bodyPr/>
        <a:lstStyle/>
        <a:p>
          <a:endParaRPr lang="nb-NO"/>
        </a:p>
      </dgm:t>
    </dgm:pt>
    <dgm:pt modelId="{3544FE6E-81CD-4D04-B30A-7FB4C530201D}" type="pres">
      <dgm:prSet presAssocID="{C0FF6F65-76A2-4F59-BDA2-1B0F274590C1}" presName="hierRoot1" presStyleCnt="0">
        <dgm:presLayoutVars>
          <dgm:hierBranch val="init"/>
        </dgm:presLayoutVars>
      </dgm:prSet>
      <dgm:spPr/>
    </dgm:pt>
    <dgm:pt modelId="{D3A8246B-81CD-4952-A820-79780AAD3DF5}" type="pres">
      <dgm:prSet presAssocID="{C0FF6F65-76A2-4F59-BDA2-1B0F274590C1}" presName="rootComposite1" presStyleCnt="0"/>
      <dgm:spPr/>
    </dgm:pt>
    <dgm:pt modelId="{81C46F05-8514-4955-B51A-A5EE84850ED5}" type="pres">
      <dgm:prSet presAssocID="{C0FF6F65-76A2-4F59-BDA2-1B0F274590C1}" presName="rootText1" presStyleLbl="alignAcc1" presStyleIdx="0" presStyleCnt="0">
        <dgm:presLayoutVars>
          <dgm:chPref val="3"/>
        </dgm:presLayoutVars>
      </dgm:prSet>
      <dgm:spPr/>
      <dgm:t>
        <a:bodyPr/>
        <a:lstStyle/>
        <a:p>
          <a:endParaRPr lang="nb-NO"/>
        </a:p>
      </dgm:t>
    </dgm:pt>
    <dgm:pt modelId="{461A9738-245B-454B-9DBE-9BC8BAFA305D}" type="pres">
      <dgm:prSet presAssocID="{C0FF6F65-76A2-4F59-BDA2-1B0F274590C1}" presName="topArc1" presStyleLbl="parChTrans1D1" presStyleIdx="0" presStyleCnt="30"/>
      <dgm:spPr/>
    </dgm:pt>
    <dgm:pt modelId="{FE4058E3-260C-441C-8B8B-EC329F9A3F5B}" type="pres">
      <dgm:prSet presAssocID="{C0FF6F65-76A2-4F59-BDA2-1B0F274590C1}" presName="bottomArc1" presStyleLbl="parChTrans1D1" presStyleIdx="1" presStyleCnt="30"/>
      <dgm:spPr/>
    </dgm:pt>
    <dgm:pt modelId="{DECFF889-44AD-4C29-B80C-CD3EB2C048DA}" type="pres">
      <dgm:prSet presAssocID="{C0FF6F65-76A2-4F59-BDA2-1B0F274590C1}" presName="topConnNode1" presStyleLbl="node1" presStyleIdx="0" presStyleCnt="0"/>
      <dgm:spPr/>
      <dgm:t>
        <a:bodyPr/>
        <a:lstStyle/>
        <a:p>
          <a:endParaRPr lang="nb-NO"/>
        </a:p>
      </dgm:t>
    </dgm:pt>
    <dgm:pt modelId="{3FB218B3-477B-4052-A9CB-0A028965F32A}" type="pres">
      <dgm:prSet presAssocID="{C0FF6F65-76A2-4F59-BDA2-1B0F274590C1}" presName="hierChild2" presStyleCnt="0"/>
      <dgm:spPr/>
    </dgm:pt>
    <dgm:pt modelId="{492D56A5-2260-494B-8B2A-C132C2FBB8B2}" type="pres">
      <dgm:prSet presAssocID="{50818CA9-259C-41F6-8435-012572B10F0A}" presName="Name28" presStyleLbl="parChTrans1D2" presStyleIdx="0" presStyleCnt="5"/>
      <dgm:spPr/>
      <dgm:t>
        <a:bodyPr/>
        <a:lstStyle/>
        <a:p>
          <a:endParaRPr lang="nb-NO"/>
        </a:p>
      </dgm:t>
    </dgm:pt>
    <dgm:pt modelId="{A169AC50-AFBC-40AC-8B06-58D0B826E899}" type="pres">
      <dgm:prSet presAssocID="{3578FE86-D083-4319-A5BB-36F9EBA25684}" presName="hierRoot2" presStyleCnt="0">
        <dgm:presLayoutVars>
          <dgm:hierBranch val="init"/>
        </dgm:presLayoutVars>
      </dgm:prSet>
      <dgm:spPr/>
    </dgm:pt>
    <dgm:pt modelId="{6406EC83-DB53-41EC-8E39-FD662463D4B2}" type="pres">
      <dgm:prSet presAssocID="{3578FE86-D083-4319-A5BB-36F9EBA25684}" presName="rootComposite2" presStyleCnt="0"/>
      <dgm:spPr/>
    </dgm:pt>
    <dgm:pt modelId="{0D658E08-0D67-4BBA-9377-84DA0ABB4F41}" type="pres">
      <dgm:prSet presAssocID="{3578FE86-D083-4319-A5BB-36F9EBA25684}" presName="rootText2" presStyleLbl="alignAcc1" presStyleIdx="0" presStyleCnt="0">
        <dgm:presLayoutVars>
          <dgm:chPref val="3"/>
        </dgm:presLayoutVars>
      </dgm:prSet>
      <dgm:spPr/>
      <dgm:t>
        <a:bodyPr/>
        <a:lstStyle/>
        <a:p>
          <a:endParaRPr lang="nb-NO"/>
        </a:p>
      </dgm:t>
    </dgm:pt>
    <dgm:pt modelId="{C649094B-C5D8-42DC-8E94-B0D95B3C63BF}" type="pres">
      <dgm:prSet presAssocID="{3578FE86-D083-4319-A5BB-36F9EBA25684}" presName="topArc2" presStyleLbl="parChTrans1D1" presStyleIdx="2" presStyleCnt="30"/>
      <dgm:spPr/>
    </dgm:pt>
    <dgm:pt modelId="{182EC0D8-E8EA-4A1B-AC9F-4D2FECD45B15}" type="pres">
      <dgm:prSet presAssocID="{3578FE86-D083-4319-A5BB-36F9EBA25684}" presName="bottomArc2" presStyleLbl="parChTrans1D1" presStyleIdx="3" presStyleCnt="30"/>
      <dgm:spPr/>
    </dgm:pt>
    <dgm:pt modelId="{FA7027D0-2FDC-4EE4-9467-1BF55F0EC268}" type="pres">
      <dgm:prSet presAssocID="{3578FE86-D083-4319-A5BB-36F9EBA25684}" presName="topConnNode2" presStyleLbl="node2" presStyleIdx="0" presStyleCnt="0"/>
      <dgm:spPr/>
      <dgm:t>
        <a:bodyPr/>
        <a:lstStyle/>
        <a:p>
          <a:endParaRPr lang="nb-NO"/>
        </a:p>
      </dgm:t>
    </dgm:pt>
    <dgm:pt modelId="{B16D680B-E0A5-4EEA-8AE9-53F9E0347D2F}" type="pres">
      <dgm:prSet presAssocID="{3578FE86-D083-4319-A5BB-36F9EBA25684}" presName="hierChild4" presStyleCnt="0"/>
      <dgm:spPr/>
    </dgm:pt>
    <dgm:pt modelId="{08240EE2-C23F-4BFD-BAC2-B8060A7FE68B}" type="pres">
      <dgm:prSet presAssocID="{A6B65C68-CAD9-48A5-A782-BC01C8A34C50}" presName="Name28" presStyleLbl="parChTrans1D3" presStyleIdx="0" presStyleCnt="9"/>
      <dgm:spPr/>
      <dgm:t>
        <a:bodyPr/>
        <a:lstStyle/>
        <a:p>
          <a:endParaRPr lang="nb-NO"/>
        </a:p>
      </dgm:t>
    </dgm:pt>
    <dgm:pt modelId="{8F55D52B-CE99-4A2E-BCEF-0018C3253F19}" type="pres">
      <dgm:prSet presAssocID="{712460EB-0957-4E88-853A-D84FB246929E}" presName="hierRoot2" presStyleCnt="0">
        <dgm:presLayoutVars>
          <dgm:hierBranch val="init"/>
        </dgm:presLayoutVars>
      </dgm:prSet>
      <dgm:spPr/>
    </dgm:pt>
    <dgm:pt modelId="{6ECC36D6-48D0-46E7-AC25-0A4C30AEE7C4}" type="pres">
      <dgm:prSet presAssocID="{712460EB-0957-4E88-853A-D84FB246929E}" presName="rootComposite2" presStyleCnt="0"/>
      <dgm:spPr/>
    </dgm:pt>
    <dgm:pt modelId="{6801030D-14F5-4585-9E66-9811B90DBDF7}" type="pres">
      <dgm:prSet presAssocID="{712460EB-0957-4E88-853A-D84FB246929E}" presName="rootText2" presStyleLbl="alignAcc1" presStyleIdx="0" presStyleCnt="0" custScaleX="128075">
        <dgm:presLayoutVars>
          <dgm:chPref val="3"/>
        </dgm:presLayoutVars>
      </dgm:prSet>
      <dgm:spPr/>
      <dgm:t>
        <a:bodyPr/>
        <a:lstStyle/>
        <a:p>
          <a:endParaRPr lang="nb-NO"/>
        </a:p>
      </dgm:t>
    </dgm:pt>
    <dgm:pt modelId="{4A2CDB84-2AE8-461D-9F73-C7043BD3730A}" type="pres">
      <dgm:prSet presAssocID="{712460EB-0957-4E88-853A-D84FB246929E}" presName="topArc2" presStyleLbl="parChTrans1D1" presStyleIdx="4" presStyleCnt="30"/>
      <dgm:spPr/>
    </dgm:pt>
    <dgm:pt modelId="{54DA04A2-CA18-41BC-A3D1-1E8E4E8B3418}" type="pres">
      <dgm:prSet presAssocID="{712460EB-0957-4E88-853A-D84FB246929E}" presName="bottomArc2" presStyleLbl="parChTrans1D1" presStyleIdx="5" presStyleCnt="30"/>
      <dgm:spPr/>
    </dgm:pt>
    <dgm:pt modelId="{70CC04CE-50EC-4484-B986-F981871FDE4C}" type="pres">
      <dgm:prSet presAssocID="{712460EB-0957-4E88-853A-D84FB246929E}" presName="topConnNode2" presStyleLbl="node3" presStyleIdx="0" presStyleCnt="0"/>
      <dgm:spPr/>
      <dgm:t>
        <a:bodyPr/>
        <a:lstStyle/>
        <a:p>
          <a:endParaRPr lang="nb-NO"/>
        </a:p>
      </dgm:t>
    </dgm:pt>
    <dgm:pt modelId="{CC54C7DA-9F4C-4151-9B92-7F6F37CBB939}" type="pres">
      <dgm:prSet presAssocID="{712460EB-0957-4E88-853A-D84FB246929E}" presName="hierChild4" presStyleCnt="0"/>
      <dgm:spPr/>
    </dgm:pt>
    <dgm:pt modelId="{B456A845-BA5D-4398-8B13-06BB102F4C01}" type="pres">
      <dgm:prSet presAssocID="{712460EB-0957-4E88-853A-D84FB246929E}" presName="hierChild5" presStyleCnt="0"/>
      <dgm:spPr/>
    </dgm:pt>
    <dgm:pt modelId="{18EC4974-CC1A-4FB5-9C06-A18A5D0C191D}" type="pres">
      <dgm:prSet presAssocID="{EE4559B6-9549-4B9A-B4ED-72CA2EA3B763}" presName="Name28" presStyleLbl="parChTrans1D3" presStyleIdx="1" presStyleCnt="9"/>
      <dgm:spPr/>
      <dgm:t>
        <a:bodyPr/>
        <a:lstStyle/>
        <a:p>
          <a:endParaRPr lang="nb-NO"/>
        </a:p>
      </dgm:t>
    </dgm:pt>
    <dgm:pt modelId="{F6412476-F110-41D0-B731-D5201CEC2495}" type="pres">
      <dgm:prSet presAssocID="{73A47AF9-67D8-4F18-98B4-B61C9F85A21D}" presName="hierRoot2" presStyleCnt="0">
        <dgm:presLayoutVars>
          <dgm:hierBranch val="init"/>
        </dgm:presLayoutVars>
      </dgm:prSet>
      <dgm:spPr/>
    </dgm:pt>
    <dgm:pt modelId="{AB24EF85-858D-4530-8D7A-D49E7016AEA0}" type="pres">
      <dgm:prSet presAssocID="{73A47AF9-67D8-4F18-98B4-B61C9F85A21D}" presName="rootComposite2" presStyleCnt="0"/>
      <dgm:spPr/>
    </dgm:pt>
    <dgm:pt modelId="{E5F7B7E7-8AAB-4E2A-AE7E-72E816A7E53A}" type="pres">
      <dgm:prSet presAssocID="{73A47AF9-67D8-4F18-98B4-B61C9F85A21D}" presName="rootText2" presStyleLbl="alignAcc1" presStyleIdx="0" presStyleCnt="0">
        <dgm:presLayoutVars>
          <dgm:chPref val="3"/>
        </dgm:presLayoutVars>
      </dgm:prSet>
      <dgm:spPr/>
      <dgm:t>
        <a:bodyPr/>
        <a:lstStyle/>
        <a:p>
          <a:endParaRPr lang="nb-NO"/>
        </a:p>
      </dgm:t>
    </dgm:pt>
    <dgm:pt modelId="{BFBB71A3-F405-4050-AC60-C0F1B97EC4B8}" type="pres">
      <dgm:prSet presAssocID="{73A47AF9-67D8-4F18-98B4-B61C9F85A21D}" presName="topArc2" presStyleLbl="parChTrans1D1" presStyleIdx="6" presStyleCnt="30"/>
      <dgm:spPr/>
    </dgm:pt>
    <dgm:pt modelId="{E9D443F5-3B32-44B0-BC7A-5641E396037A}" type="pres">
      <dgm:prSet presAssocID="{73A47AF9-67D8-4F18-98B4-B61C9F85A21D}" presName="bottomArc2" presStyleLbl="parChTrans1D1" presStyleIdx="7" presStyleCnt="30"/>
      <dgm:spPr/>
    </dgm:pt>
    <dgm:pt modelId="{000C7854-2E71-4CDF-BC50-B270900EBECC}" type="pres">
      <dgm:prSet presAssocID="{73A47AF9-67D8-4F18-98B4-B61C9F85A21D}" presName="topConnNode2" presStyleLbl="node3" presStyleIdx="0" presStyleCnt="0"/>
      <dgm:spPr/>
      <dgm:t>
        <a:bodyPr/>
        <a:lstStyle/>
        <a:p>
          <a:endParaRPr lang="nb-NO"/>
        </a:p>
      </dgm:t>
    </dgm:pt>
    <dgm:pt modelId="{F881045E-9D0D-4395-A964-D003246DE0AC}" type="pres">
      <dgm:prSet presAssocID="{73A47AF9-67D8-4F18-98B4-B61C9F85A21D}" presName="hierChild4" presStyleCnt="0"/>
      <dgm:spPr/>
    </dgm:pt>
    <dgm:pt modelId="{9FAE40C4-2D34-475D-85DA-28E7DDEE65F0}" type="pres">
      <dgm:prSet presAssocID="{73A47AF9-67D8-4F18-98B4-B61C9F85A21D}" presName="hierChild5" presStyleCnt="0"/>
      <dgm:spPr/>
    </dgm:pt>
    <dgm:pt modelId="{3A6F5DFD-B2D2-4342-9901-2BC8061775AA}" type="pres">
      <dgm:prSet presAssocID="{3578FE86-D083-4319-A5BB-36F9EBA25684}" presName="hierChild5" presStyleCnt="0"/>
      <dgm:spPr/>
    </dgm:pt>
    <dgm:pt modelId="{3DD51FBE-08CB-46BA-959B-6CE6ADA5465E}" type="pres">
      <dgm:prSet presAssocID="{ABA99C0B-25A3-490D-8B00-889CE5C8CC1C}" presName="Name28" presStyleLbl="parChTrans1D2" presStyleIdx="1" presStyleCnt="5"/>
      <dgm:spPr/>
      <dgm:t>
        <a:bodyPr/>
        <a:lstStyle/>
        <a:p>
          <a:endParaRPr lang="nb-NO"/>
        </a:p>
      </dgm:t>
    </dgm:pt>
    <dgm:pt modelId="{F2F391FB-BEA3-4F36-BE78-35221612FDB0}" type="pres">
      <dgm:prSet presAssocID="{9DD754B7-0D15-4FE6-AF0A-3706848474F2}" presName="hierRoot2" presStyleCnt="0">
        <dgm:presLayoutVars>
          <dgm:hierBranch val="init"/>
        </dgm:presLayoutVars>
      </dgm:prSet>
      <dgm:spPr/>
    </dgm:pt>
    <dgm:pt modelId="{78402C37-A873-45EB-B149-6398B02C57D6}" type="pres">
      <dgm:prSet presAssocID="{9DD754B7-0D15-4FE6-AF0A-3706848474F2}" presName="rootComposite2" presStyleCnt="0"/>
      <dgm:spPr/>
    </dgm:pt>
    <dgm:pt modelId="{48092861-3F31-4EEB-8018-74A6B33A1D4A}" type="pres">
      <dgm:prSet presAssocID="{9DD754B7-0D15-4FE6-AF0A-3706848474F2}" presName="rootText2" presStyleLbl="alignAcc1" presStyleIdx="0" presStyleCnt="0">
        <dgm:presLayoutVars>
          <dgm:chPref val="3"/>
        </dgm:presLayoutVars>
      </dgm:prSet>
      <dgm:spPr/>
      <dgm:t>
        <a:bodyPr/>
        <a:lstStyle/>
        <a:p>
          <a:endParaRPr lang="nb-NO"/>
        </a:p>
      </dgm:t>
    </dgm:pt>
    <dgm:pt modelId="{89F0F0DB-6D78-4591-8389-59E3BF306E91}" type="pres">
      <dgm:prSet presAssocID="{9DD754B7-0D15-4FE6-AF0A-3706848474F2}" presName="topArc2" presStyleLbl="parChTrans1D1" presStyleIdx="8" presStyleCnt="30"/>
      <dgm:spPr/>
    </dgm:pt>
    <dgm:pt modelId="{B0295ED2-C043-4FF9-BF88-29CD6AA003D8}" type="pres">
      <dgm:prSet presAssocID="{9DD754B7-0D15-4FE6-AF0A-3706848474F2}" presName="bottomArc2" presStyleLbl="parChTrans1D1" presStyleIdx="9" presStyleCnt="30"/>
      <dgm:spPr/>
    </dgm:pt>
    <dgm:pt modelId="{95D910D9-6B76-4232-9579-D73E73E87A13}" type="pres">
      <dgm:prSet presAssocID="{9DD754B7-0D15-4FE6-AF0A-3706848474F2}" presName="topConnNode2" presStyleLbl="node2" presStyleIdx="0" presStyleCnt="0"/>
      <dgm:spPr/>
      <dgm:t>
        <a:bodyPr/>
        <a:lstStyle/>
        <a:p>
          <a:endParaRPr lang="nb-NO"/>
        </a:p>
      </dgm:t>
    </dgm:pt>
    <dgm:pt modelId="{79CE0A0C-9FE5-45B1-87BA-DE863C199991}" type="pres">
      <dgm:prSet presAssocID="{9DD754B7-0D15-4FE6-AF0A-3706848474F2}" presName="hierChild4" presStyleCnt="0"/>
      <dgm:spPr/>
    </dgm:pt>
    <dgm:pt modelId="{2EEDF6F1-C060-42F2-A0BB-7BD12BCCA568}" type="pres">
      <dgm:prSet presAssocID="{FB38DE50-87DB-40CC-A8FB-3AABCC0F9B60}" presName="Name28" presStyleLbl="parChTrans1D3" presStyleIdx="2" presStyleCnt="9"/>
      <dgm:spPr/>
      <dgm:t>
        <a:bodyPr/>
        <a:lstStyle/>
        <a:p>
          <a:endParaRPr lang="nb-NO"/>
        </a:p>
      </dgm:t>
    </dgm:pt>
    <dgm:pt modelId="{7CD59EEC-44D0-44E3-AFCC-3252C69B2087}" type="pres">
      <dgm:prSet presAssocID="{237132DA-4442-4213-9262-183C0525A24A}" presName="hierRoot2" presStyleCnt="0">
        <dgm:presLayoutVars>
          <dgm:hierBranch val="init"/>
        </dgm:presLayoutVars>
      </dgm:prSet>
      <dgm:spPr/>
    </dgm:pt>
    <dgm:pt modelId="{88CE0157-F961-487A-8C30-568DF9032F98}" type="pres">
      <dgm:prSet presAssocID="{237132DA-4442-4213-9262-183C0525A24A}" presName="rootComposite2" presStyleCnt="0"/>
      <dgm:spPr/>
    </dgm:pt>
    <dgm:pt modelId="{ACD0596E-8C6F-4956-9726-CDF8363E6131}" type="pres">
      <dgm:prSet presAssocID="{237132DA-4442-4213-9262-183C0525A24A}" presName="rootText2" presStyleLbl="alignAcc1" presStyleIdx="0" presStyleCnt="0">
        <dgm:presLayoutVars>
          <dgm:chPref val="3"/>
        </dgm:presLayoutVars>
      </dgm:prSet>
      <dgm:spPr/>
      <dgm:t>
        <a:bodyPr/>
        <a:lstStyle/>
        <a:p>
          <a:endParaRPr lang="nb-NO"/>
        </a:p>
      </dgm:t>
    </dgm:pt>
    <dgm:pt modelId="{192261B3-06C0-42D2-B853-E18F599F77A2}" type="pres">
      <dgm:prSet presAssocID="{237132DA-4442-4213-9262-183C0525A24A}" presName="topArc2" presStyleLbl="parChTrans1D1" presStyleIdx="10" presStyleCnt="30"/>
      <dgm:spPr/>
    </dgm:pt>
    <dgm:pt modelId="{74166641-FE6C-4428-AB8D-0819CF3724C7}" type="pres">
      <dgm:prSet presAssocID="{237132DA-4442-4213-9262-183C0525A24A}" presName="bottomArc2" presStyleLbl="parChTrans1D1" presStyleIdx="11" presStyleCnt="30"/>
      <dgm:spPr/>
    </dgm:pt>
    <dgm:pt modelId="{FF6E2D78-B145-4C2B-BE2F-6E1DB1BBBAC8}" type="pres">
      <dgm:prSet presAssocID="{237132DA-4442-4213-9262-183C0525A24A}" presName="topConnNode2" presStyleLbl="node3" presStyleIdx="0" presStyleCnt="0"/>
      <dgm:spPr/>
      <dgm:t>
        <a:bodyPr/>
        <a:lstStyle/>
        <a:p>
          <a:endParaRPr lang="nb-NO"/>
        </a:p>
      </dgm:t>
    </dgm:pt>
    <dgm:pt modelId="{7C88322E-E23B-4E0D-ADAD-60A85B502959}" type="pres">
      <dgm:prSet presAssocID="{237132DA-4442-4213-9262-183C0525A24A}" presName="hierChild4" presStyleCnt="0"/>
      <dgm:spPr/>
    </dgm:pt>
    <dgm:pt modelId="{6472A236-353E-42EC-835C-E5869212B5CE}" type="pres">
      <dgm:prSet presAssocID="{237132DA-4442-4213-9262-183C0525A24A}" presName="hierChild5" presStyleCnt="0"/>
      <dgm:spPr/>
    </dgm:pt>
    <dgm:pt modelId="{E090F65D-FCCC-45FE-B119-1E77C1F53708}" type="pres">
      <dgm:prSet presAssocID="{97E0E870-27F6-4CAA-B207-4DD07DD04EE5}" presName="Name28" presStyleLbl="parChTrans1D3" presStyleIdx="3" presStyleCnt="9"/>
      <dgm:spPr/>
      <dgm:t>
        <a:bodyPr/>
        <a:lstStyle/>
        <a:p>
          <a:endParaRPr lang="nb-NO"/>
        </a:p>
      </dgm:t>
    </dgm:pt>
    <dgm:pt modelId="{7D44C5A5-1807-4721-B27C-FD03D1BEA7C8}" type="pres">
      <dgm:prSet presAssocID="{F98D81DA-1A53-4A71-96B4-790E4A2B7ECC}" presName="hierRoot2" presStyleCnt="0">
        <dgm:presLayoutVars>
          <dgm:hierBranch val="init"/>
        </dgm:presLayoutVars>
      </dgm:prSet>
      <dgm:spPr/>
    </dgm:pt>
    <dgm:pt modelId="{E4EB5336-0AFB-497C-9DAB-79CD3A0A35A0}" type="pres">
      <dgm:prSet presAssocID="{F98D81DA-1A53-4A71-96B4-790E4A2B7ECC}" presName="rootComposite2" presStyleCnt="0"/>
      <dgm:spPr/>
    </dgm:pt>
    <dgm:pt modelId="{896A0FAC-8CA7-42F3-8A4B-8F59929724E7}" type="pres">
      <dgm:prSet presAssocID="{F98D81DA-1A53-4A71-96B4-790E4A2B7ECC}" presName="rootText2" presStyleLbl="alignAcc1" presStyleIdx="0" presStyleCnt="0">
        <dgm:presLayoutVars>
          <dgm:chPref val="3"/>
        </dgm:presLayoutVars>
      </dgm:prSet>
      <dgm:spPr/>
      <dgm:t>
        <a:bodyPr/>
        <a:lstStyle/>
        <a:p>
          <a:endParaRPr lang="nb-NO"/>
        </a:p>
      </dgm:t>
    </dgm:pt>
    <dgm:pt modelId="{5891952D-89CF-499C-A431-6E7B1B0F974C}" type="pres">
      <dgm:prSet presAssocID="{F98D81DA-1A53-4A71-96B4-790E4A2B7ECC}" presName="topArc2" presStyleLbl="parChTrans1D1" presStyleIdx="12" presStyleCnt="30"/>
      <dgm:spPr/>
    </dgm:pt>
    <dgm:pt modelId="{8FEDC2DF-6A2F-4C3F-B262-401A843ED06C}" type="pres">
      <dgm:prSet presAssocID="{F98D81DA-1A53-4A71-96B4-790E4A2B7ECC}" presName="bottomArc2" presStyleLbl="parChTrans1D1" presStyleIdx="13" presStyleCnt="30"/>
      <dgm:spPr/>
    </dgm:pt>
    <dgm:pt modelId="{1E1F3F55-7F08-4B59-B27A-AEC42417C6CC}" type="pres">
      <dgm:prSet presAssocID="{F98D81DA-1A53-4A71-96B4-790E4A2B7ECC}" presName="topConnNode2" presStyleLbl="node3" presStyleIdx="0" presStyleCnt="0"/>
      <dgm:spPr/>
      <dgm:t>
        <a:bodyPr/>
        <a:lstStyle/>
        <a:p>
          <a:endParaRPr lang="nb-NO"/>
        </a:p>
      </dgm:t>
    </dgm:pt>
    <dgm:pt modelId="{A221C37B-BD21-41D4-B283-35FC6DE8129F}" type="pres">
      <dgm:prSet presAssocID="{F98D81DA-1A53-4A71-96B4-790E4A2B7ECC}" presName="hierChild4" presStyleCnt="0"/>
      <dgm:spPr/>
    </dgm:pt>
    <dgm:pt modelId="{BC2CEEBE-9B80-4ED9-93FE-DB5781693A30}" type="pres">
      <dgm:prSet presAssocID="{F98D81DA-1A53-4A71-96B4-790E4A2B7ECC}" presName="hierChild5" presStyleCnt="0"/>
      <dgm:spPr/>
    </dgm:pt>
    <dgm:pt modelId="{8D42D518-8E64-446B-AB34-F88393EC1197}" type="pres">
      <dgm:prSet presAssocID="{9DD754B7-0D15-4FE6-AF0A-3706848474F2}" presName="hierChild5" presStyleCnt="0"/>
      <dgm:spPr/>
    </dgm:pt>
    <dgm:pt modelId="{2E7C47C5-A50E-4602-BABC-81C5AADA3CAE}" type="pres">
      <dgm:prSet presAssocID="{26A2751D-279C-485C-8D7A-FE72367FFB56}" presName="Name28" presStyleLbl="parChTrans1D2" presStyleIdx="2" presStyleCnt="5"/>
      <dgm:spPr/>
      <dgm:t>
        <a:bodyPr/>
        <a:lstStyle/>
        <a:p>
          <a:endParaRPr lang="nb-NO"/>
        </a:p>
      </dgm:t>
    </dgm:pt>
    <dgm:pt modelId="{11481D6D-D2EA-43DE-AE0E-BB33800EE758}" type="pres">
      <dgm:prSet presAssocID="{8659A857-3DA3-401F-A218-F20630800DEB}" presName="hierRoot2" presStyleCnt="0">
        <dgm:presLayoutVars>
          <dgm:hierBranch val="init"/>
        </dgm:presLayoutVars>
      </dgm:prSet>
      <dgm:spPr/>
    </dgm:pt>
    <dgm:pt modelId="{51E16508-62BD-4045-933B-0DBCBCB6DCDF}" type="pres">
      <dgm:prSet presAssocID="{8659A857-3DA3-401F-A218-F20630800DEB}" presName="rootComposite2" presStyleCnt="0"/>
      <dgm:spPr/>
    </dgm:pt>
    <dgm:pt modelId="{442FB187-639E-43D5-B929-440435D9DCCC}" type="pres">
      <dgm:prSet presAssocID="{8659A857-3DA3-401F-A218-F20630800DEB}" presName="rootText2" presStyleLbl="alignAcc1" presStyleIdx="0" presStyleCnt="0" custScaleX="114420">
        <dgm:presLayoutVars>
          <dgm:chPref val="3"/>
        </dgm:presLayoutVars>
      </dgm:prSet>
      <dgm:spPr/>
      <dgm:t>
        <a:bodyPr/>
        <a:lstStyle/>
        <a:p>
          <a:endParaRPr lang="nb-NO"/>
        </a:p>
      </dgm:t>
    </dgm:pt>
    <dgm:pt modelId="{6F9A7EA6-6F98-485F-99E0-0D52C1D7011C}" type="pres">
      <dgm:prSet presAssocID="{8659A857-3DA3-401F-A218-F20630800DEB}" presName="topArc2" presStyleLbl="parChTrans1D1" presStyleIdx="14" presStyleCnt="30"/>
      <dgm:spPr/>
    </dgm:pt>
    <dgm:pt modelId="{8FEF89C1-79C7-4AC1-81D2-F0A30BBBAE67}" type="pres">
      <dgm:prSet presAssocID="{8659A857-3DA3-401F-A218-F20630800DEB}" presName="bottomArc2" presStyleLbl="parChTrans1D1" presStyleIdx="15" presStyleCnt="30"/>
      <dgm:spPr/>
    </dgm:pt>
    <dgm:pt modelId="{E8E25EB0-9907-493F-B179-78BCF0CF5DEC}" type="pres">
      <dgm:prSet presAssocID="{8659A857-3DA3-401F-A218-F20630800DEB}" presName="topConnNode2" presStyleLbl="node2" presStyleIdx="0" presStyleCnt="0"/>
      <dgm:spPr/>
      <dgm:t>
        <a:bodyPr/>
        <a:lstStyle/>
        <a:p>
          <a:endParaRPr lang="nb-NO"/>
        </a:p>
      </dgm:t>
    </dgm:pt>
    <dgm:pt modelId="{B905B9BA-48C6-49EB-9D85-2D943E8E14EC}" type="pres">
      <dgm:prSet presAssocID="{8659A857-3DA3-401F-A218-F20630800DEB}" presName="hierChild4" presStyleCnt="0"/>
      <dgm:spPr/>
    </dgm:pt>
    <dgm:pt modelId="{9E8BC2E1-61B8-41F2-9A82-82B782189E7F}" type="pres">
      <dgm:prSet presAssocID="{9119E708-B7EC-4761-9B64-8E892B3829E0}" presName="Name28" presStyleLbl="parChTrans1D3" presStyleIdx="4" presStyleCnt="9"/>
      <dgm:spPr/>
      <dgm:t>
        <a:bodyPr/>
        <a:lstStyle/>
        <a:p>
          <a:endParaRPr lang="nb-NO"/>
        </a:p>
      </dgm:t>
    </dgm:pt>
    <dgm:pt modelId="{C2EF8BD8-F825-47E9-BCDF-575B20647A26}" type="pres">
      <dgm:prSet presAssocID="{3DC6D03C-A556-4698-ABDD-91DB700899BD}" presName="hierRoot2" presStyleCnt="0">
        <dgm:presLayoutVars>
          <dgm:hierBranch val="init"/>
        </dgm:presLayoutVars>
      </dgm:prSet>
      <dgm:spPr/>
    </dgm:pt>
    <dgm:pt modelId="{8860D4E2-AB5F-47C5-9A67-2B79EE6532A5}" type="pres">
      <dgm:prSet presAssocID="{3DC6D03C-A556-4698-ABDD-91DB700899BD}" presName="rootComposite2" presStyleCnt="0"/>
      <dgm:spPr/>
    </dgm:pt>
    <dgm:pt modelId="{C444E9E7-EB10-4D4E-BF41-F70EFB5AFAE4}" type="pres">
      <dgm:prSet presAssocID="{3DC6D03C-A556-4698-ABDD-91DB700899BD}" presName="rootText2" presStyleLbl="alignAcc1" presStyleIdx="0" presStyleCnt="0">
        <dgm:presLayoutVars>
          <dgm:chPref val="3"/>
        </dgm:presLayoutVars>
      </dgm:prSet>
      <dgm:spPr/>
      <dgm:t>
        <a:bodyPr/>
        <a:lstStyle/>
        <a:p>
          <a:endParaRPr lang="nb-NO"/>
        </a:p>
      </dgm:t>
    </dgm:pt>
    <dgm:pt modelId="{5B9873B3-9960-483D-9F49-E9E36F118CD8}" type="pres">
      <dgm:prSet presAssocID="{3DC6D03C-A556-4698-ABDD-91DB700899BD}" presName="topArc2" presStyleLbl="parChTrans1D1" presStyleIdx="16" presStyleCnt="30"/>
      <dgm:spPr/>
    </dgm:pt>
    <dgm:pt modelId="{71AFD98F-CD97-4BA4-8ED2-44A881E11E54}" type="pres">
      <dgm:prSet presAssocID="{3DC6D03C-A556-4698-ABDD-91DB700899BD}" presName="bottomArc2" presStyleLbl="parChTrans1D1" presStyleIdx="17" presStyleCnt="30"/>
      <dgm:spPr/>
    </dgm:pt>
    <dgm:pt modelId="{6B0A07BC-F54C-4540-B564-38698DABE9FF}" type="pres">
      <dgm:prSet presAssocID="{3DC6D03C-A556-4698-ABDD-91DB700899BD}" presName="topConnNode2" presStyleLbl="node3" presStyleIdx="0" presStyleCnt="0"/>
      <dgm:spPr/>
      <dgm:t>
        <a:bodyPr/>
        <a:lstStyle/>
        <a:p>
          <a:endParaRPr lang="nb-NO"/>
        </a:p>
      </dgm:t>
    </dgm:pt>
    <dgm:pt modelId="{75157787-A8A7-4DBD-A93F-7A6A838BD7D8}" type="pres">
      <dgm:prSet presAssocID="{3DC6D03C-A556-4698-ABDD-91DB700899BD}" presName="hierChild4" presStyleCnt="0"/>
      <dgm:spPr/>
    </dgm:pt>
    <dgm:pt modelId="{5ECD4186-49BE-43B5-8152-EFF2C6D29991}" type="pres">
      <dgm:prSet presAssocID="{3DC6D03C-A556-4698-ABDD-91DB700899BD}" presName="hierChild5" presStyleCnt="0"/>
      <dgm:spPr/>
    </dgm:pt>
    <dgm:pt modelId="{C188D75E-66CD-41C6-8963-B33BDDECF669}" type="pres">
      <dgm:prSet presAssocID="{44ACD6C5-8D09-4C39-AFA2-2C3E3B09D46D}" presName="Name28" presStyleLbl="parChTrans1D3" presStyleIdx="5" presStyleCnt="9"/>
      <dgm:spPr/>
      <dgm:t>
        <a:bodyPr/>
        <a:lstStyle/>
        <a:p>
          <a:endParaRPr lang="nb-NO"/>
        </a:p>
      </dgm:t>
    </dgm:pt>
    <dgm:pt modelId="{48D7E9A2-98E9-42E0-A5BF-84F46FFFB29C}" type="pres">
      <dgm:prSet presAssocID="{B1CACA60-96CE-48A9-8803-0512FE67510F}" presName="hierRoot2" presStyleCnt="0">
        <dgm:presLayoutVars>
          <dgm:hierBranch val="init"/>
        </dgm:presLayoutVars>
      </dgm:prSet>
      <dgm:spPr/>
    </dgm:pt>
    <dgm:pt modelId="{BF312B43-C82C-4C0F-B242-5CC141B7DF92}" type="pres">
      <dgm:prSet presAssocID="{B1CACA60-96CE-48A9-8803-0512FE67510F}" presName="rootComposite2" presStyleCnt="0"/>
      <dgm:spPr/>
    </dgm:pt>
    <dgm:pt modelId="{9CC826C6-05B9-4B46-89E0-7E665320A57C}" type="pres">
      <dgm:prSet presAssocID="{B1CACA60-96CE-48A9-8803-0512FE67510F}" presName="rootText2" presStyleLbl="alignAcc1" presStyleIdx="0" presStyleCnt="0" custScaleY="128909">
        <dgm:presLayoutVars>
          <dgm:chPref val="3"/>
        </dgm:presLayoutVars>
      </dgm:prSet>
      <dgm:spPr/>
      <dgm:t>
        <a:bodyPr/>
        <a:lstStyle/>
        <a:p>
          <a:endParaRPr lang="nb-NO"/>
        </a:p>
      </dgm:t>
    </dgm:pt>
    <dgm:pt modelId="{CE22EC0E-E663-4686-A0CA-417A773F87FB}" type="pres">
      <dgm:prSet presAssocID="{B1CACA60-96CE-48A9-8803-0512FE67510F}" presName="topArc2" presStyleLbl="parChTrans1D1" presStyleIdx="18" presStyleCnt="30"/>
      <dgm:spPr/>
    </dgm:pt>
    <dgm:pt modelId="{76C98969-0E5E-4846-AEA5-7C5EFABAF948}" type="pres">
      <dgm:prSet presAssocID="{B1CACA60-96CE-48A9-8803-0512FE67510F}" presName="bottomArc2" presStyleLbl="parChTrans1D1" presStyleIdx="19" presStyleCnt="30"/>
      <dgm:spPr/>
    </dgm:pt>
    <dgm:pt modelId="{D5882255-26B9-40FA-81EA-8978981D60D5}" type="pres">
      <dgm:prSet presAssocID="{B1CACA60-96CE-48A9-8803-0512FE67510F}" presName="topConnNode2" presStyleLbl="node3" presStyleIdx="0" presStyleCnt="0"/>
      <dgm:spPr/>
      <dgm:t>
        <a:bodyPr/>
        <a:lstStyle/>
        <a:p>
          <a:endParaRPr lang="nb-NO"/>
        </a:p>
      </dgm:t>
    </dgm:pt>
    <dgm:pt modelId="{701A16DA-0588-484B-B0B6-0ABD8D6FB0A4}" type="pres">
      <dgm:prSet presAssocID="{B1CACA60-96CE-48A9-8803-0512FE67510F}" presName="hierChild4" presStyleCnt="0"/>
      <dgm:spPr/>
    </dgm:pt>
    <dgm:pt modelId="{01CF83DC-C5D0-414A-A90F-3DFF45177A9D}" type="pres">
      <dgm:prSet presAssocID="{B1CACA60-96CE-48A9-8803-0512FE67510F}" presName="hierChild5" presStyleCnt="0"/>
      <dgm:spPr/>
    </dgm:pt>
    <dgm:pt modelId="{6406EE50-89DE-4A06-B0EE-F15B6ABD42C3}" type="pres">
      <dgm:prSet presAssocID="{8659A857-3DA3-401F-A218-F20630800DEB}" presName="hierChild5" presStyleCnt="0"/>
      <dgm:spPr/>
    </dgm:pt>
    <dgm:pt modelId="{D4178C00-28FF-4620-A382-D189650A3047}" type="pres">
      <dgm:prSet presAssocID="{72791E7B-65FF-4715-A60C-B7B2DF7D4BC1}" presName="Name28" presStyleLbl="parChTrans1D2" presStyleIdx="3" presStyleCnt="5"/>
      <dgm:spPr/>
      <dgm:t>
        <a:bodyPr/>
        <a:lstStyle/>
        <a:p>
          <a:endParaRPr lang="nb-NO"/>
        </a:p>
      </dgm:t>
    </dgm:pt>
    <dgm:pt modelId="{562E74EC-B0A8-4108-A151-36730F331258}" type="pres">
      <dgm:prSet presAssocID="{6FEF065A-BE59-43A5-BA24-C18E4AF4DAFF}" presName="hierRoot2" presStyleCnt="0">
        <dgm:presLayoutVars>
          <dgm:hierBranch val="init"/>
        </dgm:presLayoutVars>
      </dgm:prSet>
      <dgm:spPr/>
    </dgm:pt>
    <dgm:pt modelId="{F0A32AB5-8579-44EC-9960-BE16FF1B1FEF}" type="pres">
      <dgm:prSet presAssocID="{6FEF065A-BE59-43A5-BA24-C18E4AF4DAFF}" presName="rootComposite2" presStyleCnt="0"/>
      <dgm:spPr/>
    </dgm:pt>
    <dgm:pt modelId="{E55F957A-07C6-49C7-B8D0-D55513FC4CD1}" type="pres">
      <dgm:prSet presAssocID="{6FEF065A-BE59-43A5-BA24-C18E4AF4DAFF}" presName="rootText2" presStyleLbl="alignAcc1" presStyleIdx="0" presStyleCnt="0">
        <dgm:presLayoutVars>
          <dgm:chPref val="3"/>
        </dgm:presLayoutVars>
      </dgm:prSet>
      <dgm:spPr/>
      <dgm:t>
        <a:bodyPr/>
        <a:lstStyle/>
        <a:p>
          <a:endParaRPr lang="nb-NO"/>
        </a:p>
      </dgm:t>
    </dgm:pt>
    <dgm:pt modelId="{A726A9D5-AEB7-4019-B5DF-758D6B3111CE}" type="pres">
      <dgm:prSet presAssocID="{6FEF065A-BE59-43A5-BA24-C18E4AF4DAFF}" presName="topArc2" presStyleLbl="parChTrans1D1" presStyleIdx="20" presStyleCnt="30"/>
      <dgm:spPr/>
    </dgm:pt>
    <dgm:pt modelId="{1C63F623-1EDD-4FF8-AAAF-7DC2F38EC7D8}" type="pres">
      <dgm:prSet presAssocID="{6FEF065A-BE59-43A5-BA24-C18E4AF4DAFF}" presName="bottomArc2" presStyleLbl="parChTrans1D1" presStyleIdx="21" presStyleCnt="30"/>
      <dgm:spPr/>
    </dgm:pt>
    <dgm:pt modelId="{8B4E31BE-422F-4231-B259-B5FB2EB6F48E}" type="pres">
      <dgm:prSet presAssocID="{6FEF065A-BE59-43A5-BA24-C18E4AF4DAFF}" presName="topConnNode2" presStyleLbl="node2" presStyleIdx="0" presStyleCnt="0"/>
      <dgm:spPr/>
      <dgm:t>
        <a:bodyPr/>
        <a:lstStyle/>
        <a:p>
          <a:endParaRPr lang="nb-NO"/>
        </a:p>
      </dgm:t>
    </dgm:pt>
    <dgm:pt modelId="{A779D12F-744D-4E1C-A06B-0941CD48F916}" type="pres">
      <dgm:prSet presAssocID="{6FEF065A-BE59-43A5-BA24-C18E4AF4DAFF}" presName="hierChild4" presStyleCnt="0"/>
      <dgm:spPr/>
    </dgm:pt>
    <dgm:pt modelId="{FB511969-93A4-4095-9A81-2AC9BAE415A1}" type="pres">
      <dgm:prSet presAssocID="{886E8C02-E723-47FA-A3C5-EC3F4E30E7AC}" presName="Name28" presStyleLbl="parChTrans1D3" presStyleIdx="6" presStyleCnt="9"/>
      <dgm:spPr/>
      <dgm:t>
        <a:bodyPr/>
        <a:lstStyle/>
        <a:p>
          <a:endParaRPr lang="nb-NO"/>
        </a:p>
      </dgm:t>
    </dgm:pt>
    <dgm:pt modelId="{1E2A7232-A5FC-4CA6-9575-8573EC47C9F9}" type="pres">
      <dgm:prSet presAssocID="{CE523411-6478-4781-999A-22D415DA327D}" presName="hierRoot2" presStyleCnt="0">
        <dgm:presLayoutVars>
          <dgm:hierBranch val="init"/>
        </dgm:presLayoutVars>
      </dgm:prSet>
      <dgm:spPr/>
    </dgm:pt>
    <dgm:pt modelId="{DB7D88B9-36FE-4E34-A98D-D8322CD92BC2}" type="pres">
      <dgm:prSet presAssocID="{CE523411-6478-4781-999A-22D415DA327D}" presName="rootComposite2" presStyleCnt="0"/>
      <dgm:spPr/>
    </dgm:pt>
    <dgm:pt modelId="{9C5C5CD1-8E22-42CE-B999-49C0623D8E18}" type="pres">
      <dgm:prSet presAssocID="{CE523411-6478-4781-999A-22D415DA327D}" presName="rootText2" presStyleLbl="alignAcc1" presStyleIdx="0" presStyleCnt="0">
        <dgm:presLayoutVars>
          <dgm:chPref val="3"/>
        </dgm:presLayoutVars>
      </dgm:prSet>
      <dgm:spPr/>
      <dgm:t>
        <a:bodyPr/>
        <a:lstStyle/>
        <a:p>
          <a:endParaRPr lang="nb-NO"/>
        </a:p>
      </dgm:t>
    </dgm:pt>
    <dgm:pt modelId="{52C1AEBF-E8AE-4FA7-B4B9-DC76F0086C07}" type="pres">
      <dgm:prSet presAssocID="{CE523411-6478-4781-999A-22D415DA327D}" presName="topArc2" presStyleLbl="parChTrans1D1" presStyleIdx="22" presStyleCnt="30"/>
      <dgm:spPr/>
    </dgm:pt>
    <dgm:pt modelId="{BF2886E7-D34D-4FE9-9FD3-CC8717A7A5A0}" type="pres">
      <dgm:prSet presAssocID="{CE523411-6478-4781-999A-22D415DA327D}" presName="bottomArc2" presStyleLbl="parChTrans1D1" presStyleIdx="23" presStyleCnt="30"/>
      <dgm:spPr/>
    </dgm:pt>
    <dgm:pt modelId="{1CE61441-BEF3-4295-92E5-461FB5E89CA1}" type="pres">
      <dgm:prSet presAssocID="{CE523411-6478-4781-999A-22D415DA327D}" presName="topConnNode2" presStyleLbl="node3" presStyleIdx="0" presStyleCnt="0"/>
      <dgm:spPr/>
      <dgm:t>
        <a:bodyPr/>
        <a:lstStyle/>
        <a:p>
          <a:endParaRPr lang="nb-NO"/>
        </a:p>
      </dgm:t>
    </dgm:pt>
    <dgm:pt modelId="{181B903B-8F90-4B39-9A7F-E5102353EEF4}" type="pres">
      <dgm:prSet presAssocID="{CE523411-6478-4781-999A-22D415DA327D}" presName="hierChild4" presStyleCnt="0"/>
      <dgm:spPr/>
    </dgm:pt>
    <dgm:pt modelId="{F97EAAC0-89A4-41C7-B333-37BBD42AAA0C}" type="pres">
      <dgm:prSet presAssocID="{CE523411-6478-4781-999A-22D415DA327D}" presName="hierChild5" presStyleCnt="0"/>
      <dgm:spPr/>
    </dgm:pt>
    <dgm:pt modelId="{88AEB0C5-06BB-4394-A1DE-CA5C323C7A2B}" type="pres">
      <dgm:prSet presAssocID="{49D74C2D-52A6-4CE7-B5E6-1B8F07890639}" presName="Name28" presStyleLbl="parChTrans1D3" presStyleIdx="7" presStyleCnt="9"/>
      <dgm:spPr/>
      <dgm:t>
        <a:bodyPr/>
        <a:lstStyle/>
        <a:p>
          <a:endParaRPr lang="nb-NO"/>
        </a:p>
      </dgm:t>
    </dgm:pt>
    <dgm:pt modelId="{28EF5340-A7D9-41D0-B4DE-AC3FDF5316C2}" type="pres">
      <dgm:prSet presAssocID="{9EF7D523-1FE5-4B03-A144-6674991BDDD6}" presName="hierRoot2" presStyleCnt="0">
        <dgm:presLayoutVars>
          <dgm:hierBranch val="init"/>
        </dgm:presLayoutVars>
      </dgm:prSet>
      <dgm:spPr/>
    </dgm:pt>
    <dgm:pt modelId="{39585CCD-34D0-4A5C-BE3F-217436E6AA45}" type="pres">
      <dgm:prSet presAssocID="{9EF7D523-1FE5-4B03-A144-6674991BDDD6}" presName="rootComposite2" presStyleCnt="0"/>
      <dgm:spPr/>
    </dgm:pt>
    <dgm:pt modelId="{BDCFCAE1-F9BB-4A3A-9CFD-A986D0E323D9}" type="pres">
      <dgm:prSet presAssocID="{9EF7D523-1FE5-4B03-A144-6674991BDDD6}" presName="rootText2" presStyleLbl="alignAcc1" presStyleIdx="0" presStyleCnt="0">
        <dgm:presLayoutVars>
          <dgm:chPref val="3"/>
        </dgm:presLayoutVars>
      </dgm:prSet>
      <dgm:spPr/>
      <dgm:t>
        <a:bodyPr/>
        <a:lstStyle/>
        <a:p>
          <a:endParaRPr lang="nb-NO"/>
        </a:p>
      </dgm:t>
    </dgm:pt>
    <dgm:pt modelId="{FA1C68C2-8F71-4273-B61E-F93A00AF97EE}" type="pres">
      <dgm:prSet presAssocID="{9EF7D523-1FE5-4B03-A144-6674991BDDD6}" presName="topArc2" presStyleLbl="parChTrans1D1" presStyleIdx="24" presStyleCnt="30"/>
      <dgm:spPr/>
    </dgm:pt>
    <dgm:pt modelId="{4D5215C3-D8F7-4D15-862B-A78D6943FAC2}" type="pres">
      <dgm:prSet presAssocID="{9EF7D523-1FE5-4B03-A144-6674991BDDD6}" presName="bottomArc2" presStyleLbl="parChTrans1D1" presStyleIdx="25" presStyleCnt="30"/>
      <dgm:spPr/>
    </dgm:pt>
    <dgm:pt modelId="{8A71B72F-DCF2-4CD7-82D6-245F00437B28}" type="pres">
      <dgm:prSet presAssocID="{9EF7D523-1FE5-4B03-A144-6674991BDDD6}" presName="topConnNode2" presStyleLbl="node3" presStyleIdx="0" presStyleCnt="0"/>
      <dgm:spPr/>
      <dgm:t>
        <a:bodyPr/>
        <a:lstStyle/>
        <a:p>
          <a:endParaRPr lang="nb-NO"/>
        </a:p>
      </dgm:t>
    </dgm:pt>
    <dgm:pt modelId="{B8CA9434-74E8-41DE-8111-0C6A821F9BC3}" type="pres">
      <dgm:prSet presAssocID="{9EF7D523-1FE5-4B03-A144-6674991BDDD6}" presName="hierChild4" presStyleCnt="0"/>
      <dgm:spPr/>
    </dgm:pt>
    <dgm:pt modelId="{FB12856A-6E6F-459C-8BC9-E75E3A6B15F7}" type="pres">
      <dgm:prSet presAssocID="{9EF7D523-1FE5-4B03-A144-6674991BDDD6}" presName="hierChild5" presStyleCnt="0"/>
      <dgm:spPr/>
    </dgm:pt>
    <dgm:pt modelId="{9A3587DC-F2B0-4D7A-81D4-61E59CB00E26}" type="pres">
      <dgm:prSet presAssocID="{6FEF065A-BE59-43A5-BA24-C18E4AF4DAFF}" presName="hierChild5" presStyleCnt="0"/>
      <dgm:spPr/>
    </dgm:pt>
    <dgm:pt modelId="{B22E8B39-7E5D-40A3-82AE-264BEEAA84AD}" type="pres">
      <dgm:prSet presAssocID="{C0FF6F65-76A2-4F59-BDA2-1B0F274590C1}" presName="hierChild3" presStyleCnt="0"/>
      <dgm:spPr/>
    </dgm:pt>
    <dgm:pt modelId="{482F2C09-7021-4147-8533-4E5D0D02C54F}" type="pres">
      <dgm:prSet presAssocID="{59E1553B-5A98-4B26-B6CE-8D20165138D5}" presName="Name101" presStyleLbl="parChTrans1D2" presStyleIdx="4" presStyleCnt="5"/>
      <dgm:spPr/>
      <dgm:t>
        <a:bodyPr/>
        <a:lstStyle/>
        <a:p>
          <a:endParaRPr lang="nb-NO"/>
        </a:p>
      </dgm:t>
    </dgm:pt>
    <dgm:pt modelId="{B0A1B113-939F-4C34-9D61-DB2F13C96689}" type="pres">
      <dgm:prSet presAssocID="{6E969318-30C9-4244-805B-5BAC833BC550}" presName="hierRoot3" presStyleCnt="0">
        <dgm:presLayoutVars>
          <dgm:hierBranch val="init"/>
        </dgm:presLayoutVars>
      </dgm:prSet>
      <dgm:spPr/>
    </dgm:pt>
    <dgm:pt modelId="{9EF985A6-165B-4D67-B771-63DD7EAF5B4B}" type="pres">
      <dgm:prSet presAssocID="{6E969318-30C9-4244-805B-5BAC833BC550}" presName="rootComposite3" presStyleCnt="0"/>
      <dgm:spPr/>
    </dgm:pt>
    <dgm:pt modelId="{7E0D6DAD-7602-426A-8010-3A11103B65BC}" type="pres">
      <dgm:prSet presAssocID="{6E969318-30C9-4244-805B-5BAC833BC550}" presName="rootText3" presStyleLbl="alignAcc1" presStyleIdx="0" presStyleCnt="0">
        <dgm:presLayoutVars>
          <dgm:chPref val="3"/>
        </dgm:presLayoutVars>
      </dgm:prSet>
      <dgm:spPr/>
      <dgm:t>
        <a:bodyPr/>
        <a:lstStyle/>
        <a:p>
          <a:endParaRPr lang="nb-NO"/>
        </a:p>
      </dgm:t>
    </dgm:pt>
    <dgm:pt modelId="{AD19AAAC-0B1D-49A4-AD2D-AC774363C3F2}" type="pres">
      <dgm:prSet presAssocID="{6E969318-30C9-4244-805B-5BAC833BC550}" presName="topArc3" presStyleLbl="parChTrans1D1" presStyleIdx="26" presStyleCnt="30"/>
      <dgm:spPr/>
    </dgm:pt>
    <dgm:pt modelId="{93F0D2D1-44A5-4E3F-BFD4-9BB004AFA5A9}" type="pres">
      <dgm:prSet presAssocID="{6E969318-30C9-4244-805B-5BAC833BC550}" presName="bottomArc3" presStyleLbl="parChTrans1D1" presStyleIdx="27" presStyleCnt="30"/>
      <dgm:spPr/>
    </dgm:pt>
    <dgm:pt modelId="{E20AED78-7685-40E4-8F77-5233660D9358}" type="pres">
      <dgm:prSet presAssocID="{6E969318-30C9-4244-805B-5BAC833BC550}" presName="topConnNode3" presStyleLbl="asst1" presStyleIdx="0" presStyleCnt="0"/>
      <dgm:spPr/>
      <dgm:t>
        <a:bodyPr/>
        <a:lstStyle/>
        <a:p>
          <a:endParaRPr lang="nb-NO"/>
        </a:p>
      </dgm:t>
    </dgm:pt>
    <dgm:pt modelId="{B3F968BE-9E87-4DA7-A366-ABA886F7F523}" type="pres">
      <dgm:prSet presAssocID="{6E969318-30C9-4244-805B-5BAC833BC550}" presName="hierChild6" presStyleCnt="0"/>
      <dgm:spPr/>
    </dgm:pt>
    <dgm:pt modelId="{328D718F-672C-49F5-8AC3-74E5FB544048}" type="pres">
      <dgm:prSet presAssocID="{EA7809FD-13D5-424A-82D1-89915B0A66A5}" presName="Name28" presStyleLbl="parChTrans1D3" presStyleIdx="8" presStyleCnt="9"/>
      <dgm:spPr/>
      <dgm:t>
        <a:bodyPr/>
        <a:lstStyle/>
        <a:p>
          <a:endParaRPr lang="nb-NO"/>
        </a:p>
      </dgm:t>
    </dgm:pt>
    <dgm:pt modelId="{47345D1E-61FD-43B7-BAA9-83151F84AF1D}" type="pres">
      <dgm:prSet presAssocID="{02040671-ECF9-4859-909C-0DF513ADFFB7}" presName="hierRoot2" presStyleCnt="0">
        <dgm:presLayoutVars>
          <dgm:hierBranch val="init"/>
        </dgm:presLayoutVars>
      </dgm:prSet>
      <dgm:spPr/>
    </dgm:pt>
    <dgm:pt modelId="{1D448878-7D28-42C5-858B-F7685519D441}" type="pres">
      <dgm:prSet presAssocID="{02040671-ECF9-4859-909C-0DF513ADFFB7}" presName="rootComposite2" presStyleCnt="0"/>
      <dgm:spPr/>
    </dgm:pt>
    <dgm:pt modelId="{F39D29E3-5352-4C1C-A22D-FB0244189E0C}" type="pres">
      <dgm:prSet presAssocID="{02040671-ECF9-4859-909C-0DF513ADFFB7}" presName="rootText2" presStyleLbl="alignAcc1" presStyleIdx="0" presStyleCnt="0">
        <dgm:presLayoutVars>
          <dgm:chPref val="3"/>
        </dgm:presLayoutVars>
      </dgm:prSet>
      <dgm:spPr/>
      <dgm:t>
        <a:bodyPr/>
        <a:lstStyle/>
        <a:p>
          <a:endParaRPr lang="nb-NO"/>
        </a:p>
      </dgm:t>
    </dgm:pt>
    <dgm:pt modelId="{3DC2D42C-CAF5-4F4C-8632-BE401EB9968D}" type="pres">
      <dgm:prSet presAssocID="{02040671-ECF9-4859-909C-0DF513ADFFB7}" presName="topArc2" presStyleLbl="parChTrans1D1" presStyleIdx="28" presStyleCnt="30"/>
      <dgm:spPr/>
    </dgm:pt>
    <dgm:pt modelId="{59578D16-DC1E-45CF-B204-C3F4AF1D55F6}" type="pres">
      <dgm:prSet presAssocID="{02040671-ECF9-4859-909C-0DF513ADFFB7}" presName="bottomArc2" presStyleLbl="parChTrans1D1" presStyleIdx="29" presStyleCnt="30"/>
      <dgm:spPr/>
    </dgm:pt>
    <dgm:pt modelId="{4217E7EA-7CE1-4E57-AA02-632C3084ECD5}" type="pres">
      <dgm:prSet presAssocID="{02040671-ECF9-4859-909C-0DF513ADFFB7}" presName="topConnNode2" presStyleLbl="node3" presStyleIdx="0" presStyleCnt="0"/>
      <dgm:spPr/>
      <dgm:t>
        <a:bodyPr/>
        <a:lstStyle/>
        <a:p>
          <a:endParaRPr lang="nb-NO"/>
        </a:p>
      </dgm:t>
    </dgm:pt>
    <dgm:pt modelId="{FA323F7A-BF1E-4120-AFB8-77519D9E231B}" type="pres">
      <dgm:prSet presAssocID="{02040671-ECF9-4859-909C-0DF513ADFFB7}" presName="hierChild4" presStyleCnt="0"/>
      <dgm:spPr/>
    </dgm:pt>
    <dgm:pt modelId="{211B0911-0226-45B7-8C59-A447424E0ADF}" type="pres">
      <dgm:prSet presAssocID="{02040671-ECF9-4859-909C-0DF513ADFFB7}" presName="hierChild5" presStyleCnt="0"/>
      <dgm:spPr/>
    </dgm:pt>
    <dgm:pt modelId="{1D068527-60E2-4C82-970C-E07872693457}" type="pres">
      <dgm:prSet presAssocID="{6E969318-30C9-4244-805B-5BAC833BC550}" presName="hierChild7" presStyleCnt="0"/>
      <dgm:spPr/>
    </dgm:pt>
  </dgm:ptLst>
  <dgm:cxnLst>
    <dgm:cxn modelId="{2311B84D-57B4-41D2-B92B-FFA4F21D0393}" srcId="{8659A857-3DA3-401F-A218-F20630800DEB}" destId="{3DC6D03C-A556-4698-ABDD-91DB700899BD}" srcOrd="0" destOrd="0" parTransId="{9119E708-B7EC-4761-9B64-8E892B3829E0}" sibTransId="{BFBF06B9-CA37-4517-8DA3-5A806E1AD2E2}"/>
    <dgm:cxn modelId="{BD5A7742-14DC-4FCD-B262-29A2D79BF49D}" type="presOf" srcId="{3DC6D03C-A556-4698-ABDD-91DB700899BD}" destId="{C444E9E7-EB10-4D4E-BF41-F70EFB5AFAE4}" srcOrd="0" destOrd="0" presId="urn:microsoft.com/office/officeart/2008/layout/HalfCircleOrganizationChart"/>
    <dgm:cxn modelId="{CB6054B7-8BA5-4BB2-91A5-A6604782FE5D}" srcId="{9DD754B7-0D15-4FE6-AF0A-3706848474F2}" destId="{F98D81DA-1A53-4A71-96B4-790E4A2B7ECC}" srcOrd="1" destOrd="0" parTransId="{97E0E870-27F6-4CAA-B207-4DD07DD04EE5}" sibTransId="{CF513ACF-7B5D-4069-A0B0-5872D5A6E7CB}"/>
    <dgm:cxn modelId="{84DB0B8B-3DF5-4898-B77D-A45C5439D463}" type="presOf" srcId="{EE4559B6-9549-4B9A-B4ED-72CA2EA3B763}" destId="{18EC4974-CC1A-4FB5-9C06-A18A5D0C191D}" srcOrd="0" destOrd="0" presId="urn:microsoft.com/office/officeart/2008/layout/HalfCircleOrganizationChart"/>
    <dgm:cxn modelId="{36FE05CF-CB56-4E41-9682-D1AB3ECFC4AB}" type="presOf" srcId="{F98D81DA-1A53-4A71-96B4-790E4A2B7ECC}" destId="{896A0FAC-8CA7-42F3-8A4B-8F59929724E7}" srcOrd="0" destOrd="0" presId="urn:microsoft.com/office/officeart/2008/layout/HalfCircleOrganizationChart"/>
    <dgm:cxn modelId="{0965F810-897D-4613-982B-90611118ADD8}" type="presOf" srcId="{CE523411-6478-4781-999A-22D415DA327D}" destId="{1CE61441-BEF3-4295-92E5-461FB5E89CA1}" srcOrd="1" destOrd="0" presId="urn:microsoft.com/office/officeart/2008/layout/HalfCircleOrganizationChart"/>
    <dgm:cxn modelId="{51596AFD-0CF8-4FB4-997A-039C1681FC30}" type="presOf" srcId="{3DC6D03C-A556-4698-ABDD-91DB700899BD}" destId="{6B0A07BC-F54C-4540-B564-38698DABE9FF}" srcOrd="1" destOrd="0" presId="urn:microsoft.com/office/officeart/2008/layout/HalfCircleOrganizationChart"/>
    <dgm:cxn modelId="{56A47CCB-E1C5-4911-9746-7DADE522C73C}" type="presOf" srcId="{9EF7D523-1FE5-4B03-A144-6674991BDDD6}" destId="{BDCFCAE1-F9BB-4A3A-9CFD-A986D0E323D9}" srcOrd="0" destOrd="0" presId="urn:microsoft.com/office/officeart/2008/layout/HalfCircleOrganizationChart"/>
    <dgm:cxn modelId="{456C5BD2-67A9-49A9-AF87-2CD8BD438269}" type="presOf" srcId="{6FEF065A-BE59-43A5-BA24-C18E4AF4DAFF}" destId="{E55F957A-07C6-49C7-B8D0-D55513FC4CD1}" srcOrd="0" destOrd="0" presId="urn:microsoft.com/office/officeart/2008/layout/HalfCircleOrganizationChart"/>
    <dgm:cxn modelId="{632EA92B-4321-4AA3-8DF2-6243D3BC36BB}" srcId="{C0FF6F65-76A2-4F59-BDA2-1B0F274590C1}" destId="{3578FE86-D083-4319-A5BB-36F9EBA25684}" srcOrd="1" destOrd="0" parTransId="{50818CA9-259C-41F6-8435-012572B10F0A}" sibTransId="{3B9BFF2A-BA07-4EE0-A0E3-49861E5EFD2A}"/>
    <dgm:cxn modelId="{27DB48C6-B287-414C-83BD-3B963B1ACCE8}" type="presOf" srcId="{3578FE86-D083-4319-A5BB-36F9EBA25684}" destId="{FA7027D0-2FDC-4EE4-9467-1BF55F0EC268}" srcOrd="1" destOrd="0" presId="urn:microsoft.com/office/officeart/2008/layout/HalfCircleOrganizationChart"/>
    <dgm:cxn modelId="{3891C3C5-A018-47F3-BE71-D09F256E65FB}" type="presOf" srcId="{ABA99C0B-25A3-490D-8B00-889CE5C8CC1C}" destId="{3DD51FBE-08CB-46BA-959B-6CE6ADA5465E}" srcOrd="0" destOrd="0" presId="urn:microsoft.com/office/officeart/2008/layout/HalfCircleOrganizationChart"/>
    <dgm:cxn modelId="{5C034769-5A89-429C-A8E5-F4F413C1EA4B}" type="presOf" srcId="{B1CACA60-96CE-48A9-8803-0512FE67510F}" destId="{9CC826C6-05B9-4B46-89E0-7E665320A57C}" srcOrd="0" destOrd="0" presId="urn:microsoft.com/office/officeart/2008/layout/HalfCircleOrganizationChart"/>
    <dgm:cxn modelId="{E9439ABB-F287-44B8-9B01-83712DCEE782}" type="presOf" srcId="{9DD754B7-0D15-4FE6-AF0A-3706848474F2}" destId="{95D910D9-6B76-4232-9579-D73E73E87A13}" srcOrd="1" destOrd="0" presId="urn:microsoft.com/office/officeart/2008/layout/HalfCircleOrganizationChart"/>
    <dgm:cxn modelId="{24423CCC-79BC-4BFF-B44F-56C5039C60CD}" type="presOf" srcId="{FB38DE50-87DB-40CC-A8FB-3AABCC0F9B60}" destId="{2EEDF6F1-C060-42F2-A0BB-7BD12BCCA568}" srcOrd="0" destOrd="0" presId="urn:microsoft.com/office/officeart/2008/layout/HalfCircleOrganizationChart"/>
    <dgm:cxn modelId="{F9A40A13-15C6-4A2A-92DC-114138EF0160}" type="presOf" srcId="{F98D81DA-1A53-4A71-96B4-790E4A2B7ECC}" destId="{1E1F3F55-7F08-4B59-B27A-AEC42417C6CC}" srcOrd="1" destOrd="0" presId="urn:microsoft.com/office/officeart/2008/layout/HalfCircleOrganizationChart"/>
    <dgm:cxn modelId="{B4FD17CB-D855-4D0F-98F6-D87B64BA01B4}" type="presOf" srcId="{886E8C02-E723-47FA-A3C5-EC3F4E30E7AC}" destId="{FB511969-93A4-4095-9A81-2AC9BAE415A1}" srcOrd="0" destOrd="0" presId="urn:microsoft.com/office/officeart/2008/layout/HalfCircleOrganizationChart"/>
    <dgm:cxn modelId="{3A9AFA7D-F777-4365-BFCB-E71A3AF0ABBE}" type="presOf" srcId="{712460EB-0957-4E88-853A-D84FB246929E}" destId="{70CC04CE-50EC-4484-B986-F981871FDE4C}" srcOrd="1" destOrd="0" presId="urn:microsoft.com/office/officeart/2008/layout/HalfCircleOrganizationChart"/>
    <dgm:cxn modelId="{D5AD12D7-C8F5-4D48-B379-14D8BCF3C278}" type="presOf" srcId="{EA7809FD-13D5-424A-82D1-89915B0A66A5}" destId="{328D718F-672C-49F5-8AC3-74E5FB544048}" srcOrd="0" destOrd="0" presId="urn:microsoft.com/office/officeart/2008/layout/HalfCircleOrganizationChart"/>
    <dgm:cxn modelId="{8DE74901-5879-413F-A243-E781E63B3614}" type="presOf" srcId="{B1CACA60-96CE-48A9-8803-0512FE67510F}" destId="{D5882255-26B9-40FA-81EA-8978981D60D5}" srcOrd="1" destOrd="0" presId="urn:microsoft.com/office/officeart/2008/layout/HalfCircleOrganizationChart"/>
    <dgm:cxn modelId="{82E81649-D9A1-4E9E-A856-5F5F0E09B23D}" type="presOf" srcId="{02040671-ECF9-4859-909C-0DF513ADFFB7}" destId="{F39D29E3-5352-4C1C-A22D-FB0244189E0C}" srcOrd="0" destOrd="0" presId="urn:microsoft.com/office/officeart/2008/layout/HalfCircleOrganizationChart"/>
    <dgm:cxn modelId="{8591FD95-6D09-4C6C-B7CD-67B247838248}" type="presOf" srcId="{C0FF6F65-76A2-4F59-BDA2-1B0F274590C1}" destId="{81C46F05-8514-4955-B51A-A5EE84850ED5}" srcOrd="0" destOrd="0" presId="urn:microsoft.com/office/officeart/2008/layout/HalfCircleOrganizationChart"/>
    <dgm:cxn modelId="{94852246-C9FA-4235-B0B7-9848AD5D96A1}" type="presOf" srcId="{59E1553B-5A98-4B26-B6CE-8D20165138D5}" destId="{482F2C09-7021-4147-8533-4E5D0D02C54F}" srcOrd="0" destOrd="0" presId="urn:microsoft.com/office/officeart/2008/layout/HalfCircleOrganizationChart"/>
    <dgm:cxn modelId="{2BFF0E42-25D3-410F-BEB0-D1A72F78A7A1}" type="presOf" srcId="{49D74C2D-52A6-4CE7-B5E6-1B8F07890639}" destId="{88AEB0C5-06BB-4394-A1DE-CA5C323C7A2B}" srcOrd="0" destOrd="0" presId="urn:microsoft.com/office/officeart/2008/layout/HalfCircleOrganizationChart"/>
    <dgm:cxn modelId="{55BB1F08-6C24-49A1-B8E3-4557A6F4AF67}" srcId="{6FEF065A-BE59-43A5-BA24-C18E4AF4DAFF}" destId="{CE523411-6478-4781-999A-22D415DA327D}" srcOrd="0" destOrd="0" parTransId="{886E8C02-E723-47FA-A3C5-EC3F4E30E7AC}" sibTransId="{7AE3E145-3732-4A59-98B9-1A9960017B5C}"/>
    <dgm:cxn modelId="{E19DD375-EEC6-4D76-8BF1-E86D8940D5B5}" type="presOf" srcId="{8659A857-3DA3-401F-A218-F20630800DEB}" destId="{442FB187-639E-43D5-B929-440435D9DCCC}" srcOrd="0" destOrd="0" presId="urn:microsoft.com/office/officeart/2008/layout/HalfCircleOrganizationChart"/>
    <dgm:cxn modelId="{53FE7C03-FBDE-4601-87A3-8FEA50303F12}" type="presOf" srcId="{9DD754B7-0D15-4FE6-AF0A-3706848474F2}" destId="{48092861-3F31-4EEB-8018-74A6B33A1D4A}" srcOrd="0" destOrd="0" presId="urn:microsoft.com/office/officeart/2008/layout/HalfCircleOrganizationChart"/>
    <dgm:cxn modelId="{CC0F8E6F-0B21-4C3E-A454-786673179FFE}" type="presOf" srcId="{50818CA9-259C-41F6-8435-012572B10F0A}" destId="{492D56A5-2260-494B-8B2A-C132C2FBB8B2}" srcOrd="0" destOrd="0" presId="urn:microsoft.com/office/officeart/2008/layout/HalfCircleOrganizationChart"/>
    <dgm:cxn modelId="{E9D83582-11E1-4D43-96BD-411799350EC1}" type="presOf" srcId="{73A47AF9-67D8-4F18-98B4-B61C9F85A21D}" destId="{E5F7B7E7-8AAB-4E2A-AE7E-72E816A7E53A}" srcOrd="0" destOrd="0" presId="urn:microsoft.com/office/officeart/2008/layout/HalfCircleOrganizationChart"/>
    <dgm:cxn modelId="{4FC87CA4-C52D-4B97-8B03-3BEEC742CB8A}" type="presOf" srcId="{6E969318-30C9-4244-805B-5BAC833BC550}" destId="{E20AED78-7685-40E4-8F77-5233660D9358}" srcOrd="1" destOrd="0" presId="urn:microsoft.com/office/officeart/2008/layout/HalfCircleOrganizationChart"/>
    <dgm:cxn modelId="{B607B7A5-DFC4-4638-A7CB-0906C4CF5168}" type="presOf" srcId="{6E969318-30C9-4244-805B-5BAC833BC550}" destId="{7E0D6DAD-7602-426A-8010-3A11103B65BC}" srcOrd="0" destOrd="0" presId="urn:microsoft.com/office/officeart/2008/layout/HalfCircleOrganizationChart"/>
    <dgm:cxn modelId="{5F6F0729-3427-4CB0-8358-83966D563955}" type="presOf" srcId="{237132DA-4442-4213-9262-183C0525A24A}" destId="{FF6E2D78-B145-4C2B-BE2F-6E1DB1BBBAC8}" srcOrd="1" destOrd="0" presId="urn:microsoft.com/office/officeart/2008/layout/HalfCircleOrganizationChart"/>
    <dgm:cxn modelId="{7FAD8D81-E49C-40D6-BB65-8138AEAD06C7}" srcId="{6FEF065A-BE59-43A5-BA24-C18E4AF4DAFF}" destId="{9EF7D523-1FE5-4B03-A144-6674991BDDD6}" srcOrd="1" destOrd="0" parTransId="{49D74C2D-52A6-4CE7-B5E6-1B8F07890639}" sibTransId="{1E4C5146-4281-44D6-B410-0CB2E0EB7829}"/>
    <dgm:cxn modelId="{2D8B510B-EB2A-457D-8AD8-87FFB73044C6}" srcId="{8659A857-3DA3-401F-A218-F20630800DEB}" destId="{B1CACA60-96CE-48A9-8803-0512FE67510F}" srcOrd="1" destOrd="0" parTransId="{44ACD6C5-8D09-4C39-AFA2-2C3E3B09D46D}" sibTransId="{21CE7B2D-3E98-4AA5-BA5B-7ED26044103A}"/>
    <dgm:cxn modelId="{0F12CA37-4783-4D71-AD5A-6C1B5951BB23}" srcId="{9DD754B7-0D15-4FE6-AF0A-3706848474F2}" destId="{237132DA-4442-4213-9262-183C0525A24A}" srcOrd="0" destOrd="0" parTransId="{FB38DE50-87DB-40CC-A8FB-3AABCC0F9B60}" sibTransId="{88AB689E-9C0F-4859-93CB-0766DB7B3CB7}"/>
    <dgm:cxn modelId="{47CE9604-5F93-44C0-A0A4-0FC7097EDF87}" type="presOf" srcId="{3578FE86-D083-4319-A5BB-36F9EBA25684}" destId="{0D658E08-0D67-4BBA-9377-84DA0ABB4F41}" srcOrd="0" destOrd="0" presId="urn:microsoft.com/office/officeart/2008/layout/HalfCircleOrganizationChart"/>
    <dgm:cxn modelId="{4061E749-58E3-4DB6-AAC9-E93807B943AC}" srcId="{7D1EDD5C-0110-43E8-8DBD-82B7885C25CE}" destId="{C0FF6F65-76A2-4F59-BDA2-1B0F274590C1}" srcOrd="0" destOrd="0" parTransId="{62E2E515-8AD7-4833-A31B-3E4BCA317BE8}" sibTransId="{57EA86BA-8DA7-44DE-AD07-986B3B0B6964}"/>
    <dgm:cxn modelId="{E69C1791-23C5-4099-9933-9907C93F7366}" srcId="{C0FF6F65-76A2-4F59-BDA2-1B0F274590C1}" destId="{6FEF065A-BE59-43A5-BA24-C18E4AF4DAFF}" srcOrd="4" destOrd="0" parTransId="{72791E7B-65FF-4715-A60C-B7B2DF7D4BC1}" sibTransId="{A5C67124-F3CD-4BFE-866C-EB4511692725}"/>
    <dgm:cxn modelId="{D9CC36E7-E93D-4A70-8DD5-007D4036D970}" type="presOf" srcId="{9EF7D523-1FE5-4B03-A144-6674991BDDD6}" destId="{8A71B72F-DCF2-4CD7-82D6-245F00437B28}" srcOrd="1" destOrd="0" presId="urn:microsoft.com/office/officeart/2008/layout/HalfCircleOrganizationChart"/>
    <dgm:cxn modelId="{0FFA9CCB-4971-405C-86BE-FB7E8C960FE6}" srcId="{3578FE86-D083-4319-A5BB-36F9EBA25684}" destId="{73A47AF9-67D8-4F18-98B4-B61C9F85A21D}" srcOrd="1" destOrd="0" parTransId="{EE4559B6-9549-4B9A-B4ED-72CA2EA3B763}" sibTransId="{3B53EC4A-B5D0-4BE2-9852-4739A1749B8F}"/>
    <dgm:cxn modelId="{E76CF762-64A6-4489-897A-177E00F611E1}" type="presOf" srcId="{8659A857-3DA3-401F-A218-F20630800DEB}" destId="{E8E25EB0-9907-493F-B179-78BCF0CF5DEC}" srcOrd="1" destOrd="0" presId="urn:microsoft.com/office/officeart/2008/layout/HalfCircleOrganizationChart"/>
    <dgm:cxn modelId="{AF2B98C1-7EFF-4941-8CD0-72CB97070D53}" type="presOf" srcId="{97E0E870-27F6-4CAA-B207-4DD07DD04EE5}" destId="{E090F65D-FCCC-45FE-B119-1E77C1F53708}" srcOrd="0" destOrd="0" presId="urn:microsoft.com/office/officeart/2008/layout/HalfCircleOrganizationChart"/>
    <dgm:cxn modelId="{B0F97D6D-9A8D-4287-9DAA-DF3D314B0264}" srcId="{3578FE86-D083-4319-A5BB-36F9EBA25684}" destId="{712460EB-0957-4E88-853A-D84FB246929E}" srcOrd="0" destOrd="0" parTransId="{A6B65C68-CAD9-48A5-A782-BC01C8A34C50}" sibTransId="{D94AC3BF-0B6F-4367-91CE-0F627CF097C0}"/>
    <dgm:cxn modelId="{9FAE180B-85C9-40E0-842C-A98B97F4A785}" type="presOf" srcId="{44ACD6C5-8D09-4C39-AFA2-2C3E3B09D46D}" destId="{C188D75E-66CD-41C6-8963-B33BDDECF669}" srcOrd="0" destOrd="0" presId="urn:microsoft.com/office/officeart/2008/layout/HalfCircleOrganizationChart"/>
    <dgm:cxn modelId="{466D594D-506B-46F0-9E2C-E73D2102350F}" srcId="{6E969318-30C9-4244-805B-5BAC833BC550}" destId="{02040671-ECF9-4859-909C-0DF513ADFFB7}" srcOrd="0" destOrd="0" parTransId="{EA7809FD-13D5-424A-82D1-89915B0A66A5}" sibTransId="{09D4B1D9-64D4-4170-B032-3CA76A48A53B}"/>
    <dgm:cxn modelId="{0E1173B9-21A8-4805-BE66-557FE783AB04}" srcId="{C0FF6F65-76A2-4F59-BDA2-1B0F274590C1}" destId="{6E969318-30C9-4244-805B-5BAC833BC550}" srcOrd="0" destOrd="0" parTransId="{59E1553B-5A98-4B26-B6CE-8D20165138D5}" sibTransId="{98905981-4DB0-4526-B57A-5DC7A8FD91AD}"/>
    <dgm:cxn modelId="{0B7D37A8-4B76-4948-B73D-CE2F7EDDF094}" type="presOf" srcId="{7D1EDD5C-0110-43E8-8DBD-82B7885C25CE}" destId="{265D85BF-E1AB-42B2-8F8C-1E663C97260F}" srcOrd="0" destOrd="0" presId="urn:microsoft.com/office/officeart/2008/layout/HalfCircleOrganizationChart"/>
    <dgm:cxn modelId="{A6F67979-ACC9-42FF-9287-A086C5951305}" srcId="{C0FF6F65-76A2-4F59-BDA2-1B0F274590C1}" destId="{9DD754B7-0D15-4FE6-AF0A-3706848474F2}" srcOrd="2" destOrd="0" parTransId="{ABA99C0B-25A3-490D-8B00-889CE5C8CC1C}" sibTransId="{2DC76230-C833-426D-B50B-E38432111BCC}"/>
    <dgm:cxn modelId="{14ADA537-4402-4B95-858C-1309B7892230}" type="presOf" srcId="{26A2751D-279C-485C-8D7A-FE72367FFB56}" destId="{2E7C47C5-A50E-4602-BABC-81C5AADA3CAE}" srcOrd="0" destOrd="0" presId="urn:microsoft.com/office/officeart/2008/layout/HalfCircleOrganizationChart"/>
    <dgm:cxn modelId="{BDBE8EF7-B608-4B22-84F2-C2F489E68769}" type="presOf" srcId="{C0FF6F65-76A2-4F59-BDA2-1B0F274590C1}" destId="{DECFF889-44AD-4C29-B80C-CD3EB2C048DA}" srcOrd="1" destOrd="0" presId="urn:microsoft.com/office/officeart/2008/layout/HalfCircleOrganizationChart"/>
    <dgm:cxn modelId="{3578BAF0-4B1C-4924-8916-22F00BE3DF76}" srcId="{C0FF6F65-76A2-4F59-BDA2-1B0F274590C1}" destId="{8659A857-3DA3-401F-A218-F20630800DEB}" srcOrd="3" destOrd="0" parTransId="{26A2751D-279C-485C-8D7A-FE72367FFB56}" sibTransId="{AB855B58-385B-4373-9D4F-B7CF7A035DA9}"/>
    <dgm:cxn modelId="{08601AA5-EF6E-4857-8D28-69095D7BA829}" type="presOf" srcId="{712460EB-0957-4E88-853A-D84FB246929E}" destId="{6801030D-14F5-4585-9E66-9811B90DBDF7}" srcOrd="0" destOrd="0" presId="urn:microsoft.com/office/officeart/2008/layout/HalfCircleOrganizationChart"/>
    <dgm:cxn modelId="{B43B4FBF-E6B7-4F10-9522-9A9BC658A3FF}" type="presOf" srcId="{A6B65C68-CAD9-48A5-A782-BC01C8A34C50}" destId="{08240EE2-C23F-4BFD-BAC2-B8060A7FE68B}" srcOrd="0" destOrd="0" presId="urn:microsoft.com/office/officeart/2008/layout/HalfCircleOrganizationChart"/>
    <dgm:cxn modelId="{EA8E5B30-1FB7-4414-A902-9364D91B82CA}" type="presOf" srcId="{73A47AF9-67D8-4F18-98B4-B61C9F85A21D}" destId="{000C7854-2E71-4CDF-BC50-B270900EBECC}" srcOrd="1" destOrd="0" presId="urn:microsoft.com/office/officeart/2008/layout/HalfCircleOrganizationChart"/>
    <dgm:cxn modelId="{DBEC74A3-F789-4320-92DC-EECA8AB3EB17}" type="presOf" srcId="{237132DA-4442-4213-9262-183C0525A24A}" destId="{ACD0596E-8C6F-4956-9726-CDF8363E6131}" srcOrd="0" destOrd="0" presId="urn:microsoft.com/office/officeart/2008/layout/HalfCircleOrganizationChart"/>
    <dgm:cxn modelId="{35974E44-6D1E-43F6-8358-0CB99F4881DF}" type="presOf" srcId="{6FEF065A-BE59-43A5-BA24-C18E4AF4DAFF}" destId="{8B4E31BE-422F-4231-B259-B5FB2EB6F48E}" srcOrd="1" destOrd="0" presId="urn:microsoft.com/office/officeart/2008/layout/HalfCircleOrganizationChart"/>
    <dgm:cxn modelId="{357AE0E0-06AB-4E69-8413-E48CAFCBF253}" type="presOf" srcId="{CE523411-6478-4781-999A-22D415DA327D}" destId="{9C5C5CD1-8E22-42CE-B999-49C0623D8E18}" srcOrd="0" destOrd="0" presId="urn:microsoft.com/office/officeart/2008/layout/HalfCircleOrganizationChart"/>
    <dgm:cxn modelId="{2FC8224F-B1CC-46DE-A481-355EF4E2E3A8}" type="presOf" srcId="{72791E7B-65FF-4715-A60C-B7B2DF7D4BC1}" destId="{D4178C00-28FF-4620-A382-D189650A3047}" srcOrd="0" destOrd="0" presId="urn:microsoft.com/office/officeart/2008/layout/HalfCircleOrganizationChart"/>
    <dgm:cxn modelId="{E21920D2-5771-4860-8232-E0992BD74651}" type="presOf" srcId="{02040671-ECF9-4859-909C-0DF513ADFFB7}" destId="{4217E7EA-7CE1-4E57-AA02-632C3084ECD5}" srcOrd="1" destOrd="0" presId="urn:microsoft.com/office/officeart/2008/layout/HalfCircleOrganizationChart"/>
    <dgm:cxn modelId="{10BFE715-1B58-4FA0-B7C7-C067FECE1C18}" type="presOf" srcId="{9119E708-B7EC-4761-9B64-8E892B3829E0}" destId="{9E8BC2E1-61B8-41F2-9A82-82B782189E7F}" srcOrd="0" destOrd="0" presId="urn:microsoft.com/office/officeart/2008/layout/HalfCircleOrganizationChart"/>
    <dgm:cxn modelId="{303B7737-4834-45B5-AE92-CE15DC633414}" type="presParOf" srcId="{265D85BF-E1AB-42B2-8F8C-1E663C97260F}" destId="{3544FE6E-81CD-4D04-B30A-7FB4C530201D}" srcOrd="0" destOrd="0" presId="urn:microsoft.com/office/officeart/2008/layout/HalfCircleOrganizationChart"/>
    <dgm:cxn modelId="{9B57FAD9-5262-47BE-8636-5294BF00C107}" type="presParOf" srcId="{3544FE6E-81CD-4D04-B30A-7FB4C530201D}" destId="{D3A8246B-81CD-4952-A820-79780AAD3DF5}" srcOrd="0" destOrd="0" presId="urn:microsoft.com/office/officeart/2008/layout/HalfCircleOrganizationChart"/>
    <dgm:cxn modelId="{1F5C4A0F-C91A-4A61-B61E-69E628870679}" type="presParOf" srcId="{D3A8246B-81CD-4952-A820-79780AAD3DF5}" destId="{81C46F05-8514-4955-B51A-A5EE84850ED5}" srcOrd="0" destOrd="0" presId="urn:microsoft.com/office/officeart/2008/layout/HalfCircleOrganizationChart"/>
    <dgm:cxn modelId="{8ABFA209-897C-44A7-9B8E-4812CB8292B9}" type="presParOf" srcId="{D3A8246B-81CD-4952-A820-79780AAD3DF5}" destId="{461A9738-245B-454B-9DBE-9BC8BAFA305D}" srcOrd="1" destOrd="0" presId="urn:microsoft.com/office/officeart/2008/layout/HalfCircleOrganizationChart"/>
    <dgm:cxn modelId="{5CCC2BAF-F32B-477A-A70B-1B70C5C65313}" type="presParOf" srcId="{D3A8246B-81CD-4952-A820-79780AAD3DF5}" destId="{FE4058E3-260C-441C-8B8B-EC329F9A3F5B}" srcOrd="2" destOrd="0" presId="urn:microsoft.com/office/officeart/2008/layout/HalfCircleOrganizationChart"/>
    <dgm:cxn modelId="{C3BE4E90-B096-458E-91BD-B6A81024D0AE}" type="presParOf" srcId="{D3A8246B-81CD-4952-A820-79780AAD3DF5}" destId="{DECFF889-44AD-4C29-B80C-CD3EB2C048DA}" srcOrd="3" destOrd="0" presId="urn:microsoft.com/office/officeart/2008/layout/HalfCircleOrganizationChart"/>
    <dgm:cxn modelId="{C868855D-6D1C-4091-8558-7862100BBDCF}" type="presParOf" srcId="{3544FE6E-81CD-4D04-B30A-7FB4C530201D}" destId="{3FB218B3-477B-4052-A9CB-0A028965F32A}" srcOrd="1" destOrd="0" presId="urn:microsoft.com/office/officeart/2008/layout/HalfCircleOrganizationChart"/>
    <dgm:cxn modelId="{5F0F32DF-7221-4BE5-A9E8-8EF2AD739C74}" type="presParOf" srcId="{3FB218B3-477B-4052-A9CB-0A028965F32A}" destId="{492D56A5-2260-494B-8B2A-C132C2FBB8B2}" srcOrd="0" destOrd="0" presId="urn:microsoft.com/office/officeart/2008/layout/HalfCircleOrganizationChart"/>
    <dgm:cxn modelId="{5267338F-45B9-4DA6-94C0-BCFFF73FBE0E}" type="presParOf" srcId="{3FB218B3-477B-4052-A9CB-0A028965F32A}" destId="{A169AC50-AFBC-40AC-8B06-58D0B826E899}" srcOrd="1" destOrd="0" presId="urn:microsoft.com/office/officeart/2008/layout/HalfCircleOrganizationChart"/>
    <dgm:cxn modelId="{5362F1D8-96FD-40CF-B12A-66ABF42FCBB0}" type="presParOf" srcId="{A169AC50-AFBC-40AC-8B06-58D0B826E899}" destId="{6406EC83-DB53-41EC-8E39-FD662463D4B2}" srcOrd="0" destOrd="0" presId="urn:microsoft.com/office/officeart/2008/layout/HalfCircleOrganizationChart"/>
    <dgm:cxn modelId="{C6F1AA61-7650-45A0-8FF1-2EB50169F54D}" type="presParOf" srcId="{6406EC83-DB53-41EC-8E39-FD662463D4B2}" destId="{0D658E08-0D67-4BBA-9377-84DA0ABB4F41}" srcOrd="0" destOrd="0" presId="urn:microsoft.com/office/officeart/2008/layout/HalfCircleOrganizationChart"/>
    <dgm:cxn modelId="{9A4C7525-152C-413B-AA3D-6325A56F49D4}" type="presParOf" srcId="{6406EC83-DB53-41EC-8E39-FD662463D4B2}" destId="{C649094B-C5D8-42DC-8E94-B0D95B3C63BF}" srcOrd="1" destOrd="0" presId="urn:microsoft.com/office/officeart/2008/layout/HalfCircleOrganizationChart"/>
    <dgm:cxn modelId="{9FBD36D7-C66A-4DB7-AB70-FC883591A44F}" type="presParOf" srcId="{6406EC83-DB53-41EC-8E39-FD662463D4B2}" destId="{182EC0D8-E8EA-4A1B-AC9F-4D2FECD45B15}" srcOrd="2" destOrd="0" presId="urn:microsoft.com/office/officeart/2008/layout/HalfCircleOrganizationChart"/>
    <dgm:cxn modelId="{2848F8DE-3D89-4E72-947C-A16F6C97B61B}" type="presParOf" srcId="{6406EC83-DB53-41EC-8E39-FD662463D4B2}" destId="{FA7027D0-2FDC-4EE4-9467-1BF55F0EC268}" srcOrd="3" destOrd="0" presId="urn:microsoft.com/office/officeart/2008/layout/HalfCircleOrganizationChart"/>
    <dgm:cxn modelId="{1E11227B-D752-4EC2-96CE-ACB1ED1088B3}" type="presParOf" srcId="{A169AC50-AFBC-40AC-8B06-58D0B826E899}" destId="{B16D680B-E0A5-4EEA-8AE9-53F9E0347D2F}" srcOrd="1" destOrd="0" presId="urn:microsoft.com/office/officeart/2008/layout/HalfCircleOrganizationChart"/>
    <dgm:cxn modelId="{40EB16EF-7466-4379-9D69-397287EACC53}" type="presParOf" srcId="{B16D680B-E0A5-4EEA-8AE9-53F9E0347D2F}" destId="{08240EE2-C23F-4BFD-BAC2-B8060A7FE68B}" srcOrd="0" destOrd="0" presId="urn:microsoft.com/office/officeart/2008/layout/HalfCircleOrganizationChart"/>
    <dgm:cxn modelId="{3D4A104C-9048-476B-9F91-0EB8F9DD8226}" type="presParOf" srcId="{B16D680B-E0A5-4EEA-8AE9-53F9E0347D2F}" destId="{8F55D52B-CE99-4A2E-BCEF-0018C3253F19}" srcOrd="1" destOrd="0" presId="urn:microsoft.com/office/officeart/2008/layout/HalfCircleOrganizationChart"/>
    <dgm:cxn modelId="{89E80B8D-AA78-4675-92C1-ED2F1C1E7582}" type="presParOf" srcId="{8F55D52B-CE99-4A2E-BCEF-0018C3253F19}" destId="{6ECC36D6-48D0-46E7-AC25-0A4C30AEE7C4}" srcOrd="0" destOrd="0" presId="urn:microsoft.com/office/officeart/2008/layout/HalfCircleOrganizationChart"/>
    <dgm:cxn modelId="{1FF47679-8432-4EA1-A80E-E63827A00130}" type="presParOf" srcId="{6ECC36D6-48D0-46E7-AC25-0A4C30AEE7C4}" destId="{6801030D-14F5-4585-9E66-9811B90DBDF7}" srcOrd="0" destOrd="0" presId="urn:microsoft.com/office/officeart/2008/layout/HalfCircleOrganizationChart"/>
    <dgm:cxn modelId="{9F91DC2C-6056-4757-9AB5-88FA10EC04F2}" type="presParOf" srcId="{6ECC36D6-48D0-46E7-AC25-0A4C30AEE7C4}" destId="{4A2CDB84-2AE8-461D-9F73-C7043BD3730A}" srcOrd="1" destOrd="0" presId="urn:microsoft.com/office/officeart/2008/layout/HalfCircleOrganizationChart"/>
    <dgm:cxn modelId="{E02B85C8-A6DE-4FC4-91D9-6BF2BDFFD3DA}" type="presParOf" srcId="{6ECC36D6-48D0-46E7-AC25-0A4C30AEE7C4}" destId="{54DA04A2-CA18-41BC-A3D1-1E8E4E8B3418}" srcOrd="2" destOrd="0" presId="urn:microsoft.com/office/officeart/2008/layout/HalfCircleOrganizationChart"/>
    <dgm:cxn modelId="{DD11F505-6F2B-4D1E-84E4-9C73B58329F9}" type="presParOf" srcId="{6ECC36D6-48D0-46E7-AC25-0A4C30AEE7C4}" destId="{70CC04CE-50EC-4484-B986-F981871FDE4C}" srcOrd="3" destOrd="0" presId="urn:microsoft.com/office/officeart/2008/layout/HalfCircleOrganizationChart"/>
    <dgm:cxn modelId="{B95C5013-EE76-4A0D-8ECA-AB331022AA80}" type="presParOf" srcId="{8F55D52B-CE99-4A2E-BCEF-0018C3253F19}" destId="{CC54C7DA-9F4C-4151-9B92-7F6F37CBB939}" srcOrd="1" destOrd="0" presId="urn:microsoft.com/office/officeart/2008/layout/HalfCircleOrganizationChart"/>
    <dgm:cxn modelId="{A8A998AC-761F-4694-879C-85C7FDB75A5D}" type="presParOf" srcId="{8F55D52B-CE99-4A2E-BCEF-0018C3253F19}" destId="{B456A845-BA5D-4398-8B13-06BB102F4C01}" srcOrd="2" destOrd="0" presId="urn:microsoft.com/office/officeart/2008/layout/HalfCircleOrganizationChart"/>
    <dgm:cxn modelId="{377A2ED6-2DA1-472E-AD85-3AB0229B2D71}" type="presParOf" srcId="{B16D680B-E0A5-4EEA-8AE9-53F9E0347D2F}" destId="{18EC4974-CC1A-4FB5-9C06-A18A5D0C191D}" srcOrd="2" destOrd="0" presId="urn:microsoft.com/office/officeart/2008/layout/HalfCircleOrganizationChart"/>
    <dgm:cxn modelId="{0D16454E-011C-4FEF-8DB8-E54EA4215E4D}" type="presParOf" srcId="{B16D680B-E0A5-4EEA-8AE9-53F9E0347D2F}" destId="{F6412476-F110-41D0-B731-D5201CEC2495}" srcOrd="3" destOrd="0" presId="urn:microsoft.com/office/officeart/2008/layout/HalfCircleOrganizationChart"/>
    <dgm:cxn modelId="{F0CB48AF-27B3-4846-BD78-2E257FD56061}" type="presParOf" srcId="{F6412476-F110-41D0-B731-D5201CEC2495}" destId="{AB24EF85-858D-4530-8D7A-D49E7016AEA0}" srcOrd="0" destOrd="0" presId="urn:microsoft.com/office/officeart/2008/layout/HalfCircleOrganizationChart"/>
    <dgm:cxn modelId="{C245A2F9-36A3-46A8-ACA2-0FE3E0CB8DE1}" type="presParOf" srcId="{AB24EF85-858D-4530-8D7A-D49E7016AEA0}" destId="{E5F7B7E7-8AAB-4E2A-AE7E-72E816A7E53A}" srcOrd="0" destOrd="0" presId="urn:microsoft.com/office/officeart/2008/layout/HalfCircleOrganizationChart"/>
    <dgm:cxn modelId="{2EFEE508-C8C1-4B21-9812-057D32356CC1}" type="presParOf" srcId="{AB24EF85-858D-4530-8D7A-D49E7016AEA0}" destId="{BFBB71A3-F405-4050-AC60-C0F1B97EC4B8}" srcOrd="1" destOrd="0" presId="urn:microsoft.com/office/officeart/2008/layout/HalfCircleOrganizationChart"/>
    <dgm:cxn modelId="{C39F7848-9E3E-409B-9637-1E6143B02BF7}" type="presParOf" srcId="{AB24EF85-858D-4530-8D7A-D49E7016AEA0}" destId="{E9D443F5-3B32-44B0-BC7A-5641E396037A}" srcOrd="2" destOrd="0" presId="urn:microsoft.com/office/officeart/2008/layout/HalfCircleOrganizationChart"/>
    <dgm:cxn modelId="{D144AFE1-B1D0-4FB9-9E67-518BB6C96853}" type="presParOf" srcId="{AB24EF85-858D-4530-8D7A-D49E7016AEA0}" destId="{000C7854-2E71-4CDF-BC50-B270900EBECC}" srcOrd="3" destOrd="0" presId="urn:microsoft.com/office/officeart/2008/layout/HalfCircleOrganizationChart"/>
    <dgm:cxn modelId="{15D41A74-0050-45B8-BFD7-04097FFAD776}" type="presParOf" srcId="{F6412476-F110-41D0-B731-D5201CEC2495}" destId="{F881045E-9D0D-4395-A964-D003246DE0AC}" srcOrd="1" destOrd="0" presId="urn:microsoft.com/office/officeart/2008/layout/HalfCircleOrganizationChart"/>
    <dgm:cxn modelId="{05D491BD-34A4-4075-B346-D2E643637F7A}" type="presParOf" srcId="{F6412476-F110-41D0-B731-D5201CEC2495}" destId="{9FAE40C4-2D34-475D-85DA-28E7DDEE65F0}" srcOrd="2" destOrd="0" presId="urn:microsoft.com/office/officeart/2008/layout/HalfCircleOrganizationChart"/>
    <dgm:cxn modelId="{36C53D2F-67A1-4839-8724-BBA926F056CE}" type="presParOf" srcId="{A169AC50-AFBC-40AC-8B06-58D0B826E899}" destId="{3A6F5DFD-B2D2-4342-9901-2BC8061775AA}" srcOrd="2" destOrd="0" presId="urn:microsoft.com/office/officeart/2008/layout/HalfCircleOrganizationChart"/>
    <dgm:cxn modelId="{CDB61055-20FB-4EFF-A40D-DBFFB1E6E110}" type="presParOf" srcId="{3FB218B3-477B-4052-A9CB-0A028965F32A}" destId="{3DD51FBE-08CB-46BA-959B-6CE6ADA5465E}" srcOrd="2" destOrd="0" presId="urn:microsoft.com/office/officeart/2008/layout/HalfCircleOrganizationChart"/>
    <dgm:cxn modelId="{2E645255-4FB0-45F1-865E-513F002FD9D5}" type="presParOf" srcId="{3FB218B3-477B-4052-A9CB-0A028965F32A}" destId="{F2F391FB-BEA3-4F36-BE78-35221612FDB0}" srcOrd="3" destOrd="0" presId="urn:microsoft.com/office/officeart/2008/layout/HalfCircleOrganizationChart"/>
    <dgm:cxn modelId="{05429109-073E-429B-9C3A-BE7CE4A91CB4}" type="presParOf" srcId="{F2F391FB-BEA3-4F36-BE78-35221612FDB0}" destId="{78402C37-A873-45EB-B149-6398B02C57D6}" srcOrd="0" destOrd="0" presId="urn:microsoft.com/office/officeart/2008/layout/HalfCircleOrganizationChart"/>
    <dgm:cxn modelId="{07F6AE91-C6E6-4442-B275-E4E3A38EB490}" type="presParOf" srcId="{78402C37-A873-45EB-B149-6398B02C57D6}" destId="{48092861-3F31-4EEB-8018-74A6B33A1D4A}" srcOrd="0" destOrd="0" presId="urn:microsoft.com/office/officeart/2008/layout/HalfCircleOrganizationChart"/>
    <dgm:cxn modelId="{4BA48856-3A65-4478-A306-C59A700E3A34}" type="presParOf" srcId="{78402C37-A873-45EB-B149-6398B02C57D6}" destId="{89F0F0DB-6D78-4591-8389-59E3BF306E91}" srcOrd="1" destOrd="0" presId="urn:microsoft.com/office/officeart/2008/layout/HalfCircleOrganizationChart"/>
    <dgm:cxn modelId="{5296583F-223C-4735-AFF7-4D03091E72C5}" type="presParOf" srcId="{78402C37-A873-45EB-B149-6398B02C57D6}" destId="{B0295ED2-C043-4FF9-BF88-29CD6AA003D8}" srcOrd="2" destOrd="0" presId="urn:microsoft.com/office/officeart/2008/layout/HalfCircleOrganizationChart"/>
    <dgm:cxn modelId="{B715799F-3028-44FF-925A-A8CC611667FD}" type="presParOf" srcId="{78402C37-A873-45EB-B149-6398B02C57D6}" destId="{95D910D9-6B76-4232-9579-D73E73E87A13}" srcOrd="3" destOrd="0" presId="urn:microsoft.com/office/officeart/2008/layout/HalfCircleOrganizationChart"/>
    <dgm:cxn modelId="{B79A59AB-32BE-4B80-B67E-9802A034860A}" type="presParOf" srcId="{F2F391FB-BEA3-4F36-BE78-35221612FDB0}" destId="{79CE0A0C-9FE5-45B1-87BA-DE863C199991}" srcOrd="1" destOrd="0" presId="urn:microsoft.com/office/officeart/2008/layout/HalfCircleOrganizationChart"/>
    <dgm:cxn modelId="{75BB4363-8FF7-4677-B527-EE7CB2CF3DC9}" type="presParOf" srcId="{79CE0A0C-9FE5-45B1-87BA-DE863C199991}" destId="{2EEDF6F1-C060-42F2-A0BB-7BD12BCCA568}" srcOrd="0" destOrd="0" presId="urn:microsoft.com/office/officeart/2008/layout/HalfCircleOrganizationChart"/>
    <dgm:cxn modelId="{F38F66B3-F4B3-4FB7-840F-1FB688714908}" type="presParOf" srcId="{79CE0A0C-9FE5-45B1-87BA-DE863C199991}" destId="{7CD59EEC-44D0-44E3-AFCC-3252C69B2087}" srcOrd="1" destOrd="0" presId="urn:microsoft.com/office/officeart/2008/layout/HalfCircleOrganizationChart"/>
    <dgm:cxn modelId="{0B8E074A-336F-48EB-9602-1A820921976A}" type="presParOf" srcId="{7CD59EEC-44D0-44E3-AFCC-3252C69B2087}" destId="{88CE0157-F961-487A-8C30-568DF9032F98}" srcOrd="0" destOrd="0" presId="urn:microsoft.com/office/officeart/2008/layout/HalfCircleOrganizationChart"/>
    <dgm:cxn modelId="{309EE68E-471C-4F8B-80B1-4FB93644FF6E}" type="presParOf" srcId="{88CE0157-F961-487A-8C30-568DF9032F98}" destId="{ACD0596E-8C6F-4956-9726-CDF8363E6131}" srcOrd="0" destOrd="0" presId="urn:microsoft.com/office/officeart/2008/layout/HalfCircleOrganizationChart"/>
    <dgm:cxn modelId="{5F3D37F4-714C-4F16-B19F-6DFE2E46649A}" type="presParOf" srcId="{88CE0157-F961-487A-8C30-568DF9032F98}" destId="{192261B3-06C0-42D2-B853-E18F599F77A2}" srcOrd="1" destOrd="0" presId="urn:microsoft.com/office/officeart/2008/layout/HalfCircleOrganizationChart"/>
    <dgm:cxn modelId="{813E0663-38D3-41AE-B585-8DCD6AC5D620}" type="presParOf" srcId="{88CE0157-F961-487A-8C30-568DF9032F98}" destId="{74166641-FE6C-4428-AB8D-0819CF3724C7}" srcOrd="2" destOrd="0" presId="urn:microsoft.com/office/officeart/2008/layout/HalfCircleOrganizationChart"/>
    <dgm:cxn modelId="{874DDDEA-1FE3-44A4-A762-B6B8104D9B55}" type="presParOf" srcId="{88CE0157-F961-487A-8C30-568DF9032F98}" destId="{FF6E2D78-B145-4C2B-BE2F-6E1DB1BBBAC8}" srcOrd="3" destOrd="0" presId="urn:microsoft.com/office/officeart/2008/layout/HalfCircleOrganizationChart"/>
    <dgm:cxn modelId="{C6AFAB04-5418-4A5D-9892-BA32F7376E8A}" type="presParOf" srcId="{7CD59EEC-44D0-44E3-AFCC-3252C69B2087}" destId="{7C88322E-E23B-4E0D-ADAD-60A85B502959}" srcOrd="1" destOrd="0" presId="urn:microsoft.com/office/officeart/2008/layout/HalfCircleOrganizationChart"/>
    <dgm:cxn modelId="{C7B0AED0-942C-435F-8821-85A5EEAE36F4}" type="presParOf" srcId="{7CD59EEC-44D0-44E3-AFCC-3252C69B2087}" destId="{6472A236-353E-42EC-835C-E5869212B5CE}" srcOrd="2" destOrd="0" presId="urn:microsoft.com/office/officeart/2008/layout/HalfCircleOrganizationChart"/>
    <dgm:cxn modelId="{920F248E-7C08-4827-96B7-69068D3C0772}" type="presParOf" srcId="{79CE0A0C-9FE5-45B1-87BA-DE863C199991}" destId="{E090F65D-FCCC-45FE-B119-1E77C1F53708}" srcOrd="2" destOrd="0" presId="urn:microsoft.com/office/officeart/2008/layout/HalfCircleOrganizationChart"/>
    <dgm:cxn modelId="{D25D8B9F-854C-4E4E-B24D-1466AF77755C}" type="presParOf" srcId="{79CE0A0C-9FE5-45B1-87BA-DE863C199991}" destId="{7D44C5A5-1807-4721-B27C-FD03D1BEA7C8}" srcOrd="3" destOrd="0" presId="urn:microsoft.com/office/officeart/2008/layout/HalfCircleOrganizationChart"/>
    <dgm:cxn modelId="{764DAA9C-1DF0-49A2-9599-62ED265489A2}" type="presParOf" srcId="{7D44C5A5-1807-4721-B27C-FD03D1BEA7C8}" destId="{E4EB5336-0AFB-497C-9DAB-79CD3A0A35A0}" srcOrd="0" destOrd="0" presId="urn:microsoft.com/office/officeart/2008/layout/HalfCircleOrganizationChart"/>
    <dgm:cxn modelId="{77033B5C-42A2-4EE3-B0D2-038A00B7CC05}" type="presParOf" srcId="{E4EB5336-0AFB-497C-9DAB-79CD3A0A35A0}" destId="{896A0FAC-8CA7-42F3-8A4B-8F59929724E7}" srcOrd="0" destOrd="0" presId="urn:microsoft.com/office/officeart/2008/layout/HalfCircleOrganizationChart"/>
    <dgm:cxn modelId="{14D80D45-3AE1-4AF7-B4F0-B102C824101E}" type="presParOf" srcId="{E4EB5336-0AFB-497C-9DAB-79CD3A0A35A0}" destId="{5891952D-89CF-499C-A431-6E7B1B0F974C}" srcOrd="1" destOrd="0" presId="urn:microsoft.com/office/officeart/2008/layout/HalfCircleOrganizationChart"/>
    <dgm:cxn modelId="{C4687DC2-93A9-4054-A809-CE8E5685F98F}" type="presParOf" srcId="{E4EB5336-0AFB-497C-9DAB-79CD3A0A35A0}" destId="{8FEDC2DF-6A2F-4C3F-B262-401A843ED06C}" srcOrd="2" destOrd="0" presId="urn:microsoft.com/office/officeart/2008/layout/HalfCircleOrganizationChart"/>
    <dgm:cxn modelId="{107C673E-339D-4B55-86B5-B415B9D18E5E}" type="presParOf" srcId="{E4EB5336-0AFB-497C-9DAB-79CD3A0A35A0}" destId="{1E1F3F55-7F08-4B59-B27A-AEC42417C6CC}" srcOrd="3" destOrd="0" presId="urn:microsoft.com/office/officeart/2008/layout/HalfCircleOrganizationChart"/>
    <dgm:cxn modelId="{097A814A-6522-494C-B263-D42A35E07987}" type="presParOf" srcId="{7D44C5A5-1807-4721-B27C-FD03D1BEA7C8}" destId="{A221C37B-BD21-41D4-B283-35FC6DE8129F}" srcOrd="1" destOrd="0" presId="urn:microsoft.com/office/officeart/2008/layout/HalfCircleOrganizationChart"/>
    <dgm:cxn modelId="{F1AF43E7-36B2-44B2-A06B-3217F6933F29}" type="presParOf" srcId="{7D44C5A5-1807-4721-B27C-FD03D1BEA7C8}" destId="{BC2CEEBE-9B80-4ED9-93FE-DB5781693A30}" srcOrd="2" destOrd="0" presId="urn:microsoft.com/office/officeart/2008/layout/HalfCircleOrganizationChart"/>
    <dgm:cxn modelId="{CA5AC116-D27B-4035-B0D1-22156D769295}" type="presParOf" srcId="{F2F391FB-BEA3-4F36-BE78-35221612FDB0}" destId="{8D42D518-8E64-446B-AB34-F88393EC1197}" srcOrd="2" destOrd="0" presId="urn:microsoft.com/office/officeart/2008/layout/HalfCircleOrganizationChart"/>
    <dgm:cxn modelId="{AECE6958-B6AC-4CC1-B245-96CD7B770851}" type="presParOf" srcId="{3FB218B3-477B-4052-A9CB-0A028965F32A}" destId="{2E7C47C5-A50E-4602-BABC-81C5AADA3CAE}" srcOrd="4" destOrd="0" presId="urn:microsoft.com/office/officeart/2008/layout/HalfCircleOrganizationChart"/>
    <dgm:cxn modelId="{56C3CC76-2050-4238-BDEE-69B94AEACD2F}" type="presParOf" srcId="{3FB218B3-477B-4052-A9CB-0A028965F32A}" destId="{11481D6D-D2EA-43DE-AE0E-BB33800EE758}" srcOrd="5" destOrd="0" presId="urn:microsoft.com/office/officeart/2008/layout/HalfCircleOrganizationChart"/>
    <dgm:cxn modelId="{22B4B5CF-2CF4-493D-8B39-8D55FD29A876}" type="presParOf" srcId="{11481D6D-D2EA-43DE-AE0E-BB33800EE758}" destId="{51E16508-62BD-4045-933B-0DBCBCB6DCDF}" srcOrd="0" destOrd="0" presId="urn:microsoft.com/office/officeart/2008/layout/HalfCircleOrganizationChart"/>
    <dgm:cxn modelId="{55AA5704-7A8E-450C-B7BA-3529F53D3866}" type="presParOf" srcId="{51E16508-62BD-4045-933B-0DBCBCB6DCDF}" destId="{442FB187-639E-43D5-B929-440435D9DCCC}" srcOrd="0" destOrd="0" presId="urn:microsoft.com/office/officeart/2008/layout/HalfCircleOrganizationChart"/>
    <dgm:cxn modelId="{3BCF45BD-194F-4662-A1CF-F4983AFE3F1C}" type="presParOf" srcId="{51E16508-62BD-4045-933B-0DBCBCB6DCDF}" destId="{6F9A7EA6-6F98-485F-99E0-0D52C1D7011C}" srcOrd="1" destOrd="0" presId="urn:microsoft.com/office/officeart/2008/layout/HalfCircleOrganizationChart"/>
    <dgm:cxn modelId="{01F98DE9-9784-48B9-994E-F957A52EBFFE}" type="presParOf" srcId="{51E16508-62BD-4045-933B-0DBCBCB6DCDF}" destId="{8FEF89C1-79C7-4AC1-81D2-F0A30BBBAE67}" srcOrd="2" destOrd="0" presId="urn:microsoft.com/office/officeart/2008/layout/HalfCircleOrganizationChart"/>
    <dgm:cxn modelId="{A26B3327-6C36-4912-A1F9-021616FAB3FA}" type="presParOf" srcId="{51E16508-62BD-4045-933B-0DBCBCB6DCDF}" destId="{E8E25EB0-9907-493F-B179-78BCF0CF5DEC}" srcOrd="3" destOrd="0" presId="urn:microsoft.com/office/officeart/2008/layout/HalfCircleOrganizationChart"/>
    <dgm:cxn modelId="{97202487-5690-40B1-B468-59AC938783D8}" type="presParOf" srcId="{11481D6D-D2EA-43DE-AE0E-BB33800EE758}" destId="{B905B9BA-48C6-49EB-9D85-2D943E8E14EC}" srcOrd="1" destOrd="0" presId="urn:microsoft.com/office/officeart/2008/layout/HalfCircleOrganizationChart"/>
    <dgm:cxn modelId="{37E52259-F666-4201-8B21-843BE53A12B6}" type="presParOf" srcId="{B905B9BA-48C6-49EB-9D85-2D943E8E14EC}" destId="{9E8BC2E1-61B8-41F2-9A82-82B782189E7F}" srcOrd="0" destOrd="0" presId="urn:microsoft.com/office/officeart/2008/layout/HalfCircleOrganizationChart"/>
    <dgm:cxn modelId="{72A4EA3C-7F6E-4FB3-B100-EFA41C61A5C0}" type="presParOf" srcId="{B905B9BA-48C6-49EB-9D85-2D943E8E14EC}" destId="{C2EF8BD8-F825-47E9-BCDF-575B20647A26}" srcOrd="1" destOrd="0" presId="urn:microsoft.com/office/officeart/2008/layout/HalfCircleOrganizationChart"/>
    <dgm:cxn modelId="{1B07EAC0-4AD7-42CC-9FAB-E9BDBCEA6846}" type="presParOf" srcId="{C2EF8BD8-F825-47E9-BCDF-575B20647A26}" destId="{8860D4E2-AB5F-47C5-9A67-2B79EE6532A5}" srcOrd="0" destOrd="0" presId="urn:microsoft.com/office/officeart/2008/layout/HalfCircleOrganizationChart"/>
    <dgm:cxn modelId="{95722F63-72EE-428E-8D63-C28EBC83B954}" type="presParOf" srcId="{8860D4E2-AB5F-47C5-9A67-2B79EE6532A5}" destId="{C444E9E7-EB10-4D4E-BF41-F70EFB5AFAE4}" srcOrd="0" destOrd="0" presId="urn:microsoft.com/office/officeart/2008/layout/HalfCircleOrganizationChart"/>
    <dgm:cxn modelId="{C884B9D1-6878-4641-B21F-4368E5C0724A}" type="presParOf" srcId="{8860D4E2-AB5F-47C5-9A67-2B79EE6532A5}" destId="{5B9873B3-9960-483D-9F49-E9E36F118CD8}" srcOrd="1" destOrd="0" presId="urn:microsoft.com/office/officeart/2008/layout/HalfCircleOrganizationChart"/>
    <dgm:cxn modelId="{1A417367-6F2F-4B48-988C-736BF218A936}" type="presParOf" srcId="{8860D4E2-AB5F-47C5-9A67-2B79EE6532A5}" destId="{71AFD98F-CD97-4BA4-8ED2-44A881E11E54}" srcOrd="2" destOrd="0" presId="urn:microsoft.com/office/officeart/2008/layout/HalfCircleOrganizationChart"/>
    <dgm:cxn modelId="{5BEFAB6A-E109-47C1-A244-C7614466ED00}" type="presParOf" srcId="{8860D4E2-AB5F-47C5-9A67-2B79EE6532A5}" destId="{6B0A07BC-F54C-4540-B564-38698DABE9FF}" srcOrd="3" destOrd="0" presId="urn:microsoft.com/office/officeart/2008/layout/HalfCircleOrganizationChart"/>
    <dgm:cxn modelId="{D40D485A-24D2-44BC-9755-DCFF8FD12C43}" type="presParOf" srcId="{C2EF8BD8-F825-47E9-BCDF-575B20647A26}" destId="{75157787-A8A7-4DBD-A93F-7A6A838BD7D8}" srcOrd="1" destOrd="0" presId="urn:microsoft.com/office/officeart/2008/layout/HalfCircleOrganizationChart"/>
    <dgm:cxn modelId="{48165E0B-D730-416E-AF3C-BD434BC4E591}" type="presParOf" srcId="{C2EF8BD8-F825-47E9-BCDF-575B20647A26}" destId="{5ECD4186-49BE-43B5-8152-EFF2C6D29991}" srcOrd="2" destOrd="0" presId="urn:microsoft.com/office/officeart/2008/layout/HalfCircleOrganizationChart"/>
    <dgm:cxn modelId="{55641E19-3870-44AF-89DB-E86630DFBAC4}" type="presParOf" srcId="{B905B9BA-48C6-49EB-9D85-2D943E8E14EC}" destId="{C188D75E-66CD-41C6-8963-B33BDDECF669}" srcOrd="2" destOrd="0" presId="urn:microsoft.com/office/officeart/2008/layout/HalfCircleOrganizationChart"/>
    <dgm:cxn modelId="{77C90F93-2391-416B-A178-1C392C0CDB9F}" type="presParOf" srcId="{B905B9BA-48C6-49EB-9D85-2D943E8E14EC}" destId="{48D7E9A2-98E9-42E0-A5BF-84F46FFFB29C}" srcOrd="3" destOrd="0" presId="urn:microsoft.com/office/officeart/2008/layout/HalfCircleOrganizationChart"/>
    <dgm:cxn modelId="{4D6D81F0-488E-4A28-B675-8915AF065053}" type="presParOf" srcId="{48D7E9A2-98E9-42E0-A5BF-84F46FFFB29C}" destId="{BF312B43-C82C-4C0F-B242-5CC141B7DF92}" srcOrd="0" destOrd="0" presId="urn:microsoft.com/office/officeart/2008/layout/HalfCircleOrganizationChart"/>
    <dgm:cxn modelId="{D3DEE3B4-5B74-484B-B65E-94B09D3CE95F}" type="presParOf" srcId="{BF312B43-C82C-4C0F-B242-5CC141B7DF92}" destId="{9CC826C6-05B9-4B46-89E0-7E665320A57C}" srcOrd="0" destOrd="0" presId="urn:microsoft.com/office/officeart/2008/layout/HalfCircleOrganizationChart"/>
    <dgm:cxn modelId="{25804926-C225-4127-A988-EF503D07A51C}" type="presParOf" srcId="{BF312B43-C82C-4C0F-B242-5CC141B7DF92}" destId="{CE22EC0E-E663-4686-A0CA-417A773F87FB}" srcOrd="1" destOrd="0" presId="urn:microsoft.com/office/officeart/2008/layout/HalfCircleOrganizationChart"/>
    <dgm:cxn modelId="{219BCA80-055C-40FB-8384-10154AFC4D43}" type="presParOf" srcId="{BF312B43-C82C-4C0F-B242-5CC141B7DF92}" destId="{76C98969-0E5E-4846-AEA5-7C5EFABAF948}" srcOrd="2" destOrd="0" presId="urn:microsoft.com/office/officeart/2008/layout/HalfCircleOrganizationChart"/>
    <dgm:cxn modelId="{2AD5DD95-7A14-4B9E-AFC8-1BEC7B49D0FE}" type="presParOf" srcId="{BF312B43-C82C-4C0F-B242-5CC141B7DF92}" destId="{D5882255-26B9-40FA-81EA-8978981D60D5}" srcOrd="3" destOrd="0" presId="urn:microsoft.com/office/officeart/2008/layout/HalfCircleOrganizationChart"/>
    <dgm:cxn modelId="{6934F9AC-A947-4C07-B189-16A84F7CC6CE}" type="presParOf" srcId="{48D7E9A2-98E9-42E0-A5BF-84F46FFFB29C}" destId="{701A16DA-0588-484B-B0B6-0ABD8D6FB0A4}" srcOrd="1" destOrd="0" presId="urn:microsoft.com/office/officeart/2008/layout/HalfCircleOrganizationChart"/>
    <dgm:cxn modelId="{4FC940ED-E341-4519-BC9B-17B7D2A7B942}" type="presParOf" srcId="{48D7E9A2-98E9-42E0-A5BF-84F46FFFB29C}" destId="{01CF83DC-C5D0-414A-A90F-3DFF45177A9D}" srcOrd="2" destOrd="0" presId="urn:microsoft.com/office/officeart/2008/layout/HalfCircleOrganizationChart"/>
    <dgm:cxn modelId="{ABE62C83-D337-402D-8671-D1F0F1D5C13C}" type="presParOf" srcId="{11481D6D-D2EA-43DE-AE0E-BB33800EE758}" destId="{6406EE50-89DE-4A06-B0EE-F15B6ABD42C3}" srcOrd="2" destOrd="0" presId="urn:microsoft.com/office/officeart/2008/layout/HalfCircleOrganizationChart"/>
    <dgm:cxn modelId="{B915624D-7536-45D6-8B81-B2AED8F9216D}" type="presParOf" srcId="{3FB218B3-477B-4052-A9CB-0A028965F32A}" destId="{D4178C00-28FF-4620-A382-D189650A3047}" srcOrd="6" destOrd="0" presId="urn:microsoft.com/office/officeart/2008/layout/HalfCircleOrganizationChart"/>
    <dgm:cxn modelId="{8DF658DF-75AE-4C9D-89A6-CCD1350FCD99}" type="presParOf" srcId="{3FB218B3-477B-4052-A9CB-0A028965F32A}" destId="{562E74EC-B0A8-4108-A151-36730F331258}" srcOrd="7" destOrd="0" presId="urn:microsoft.com/office/officeart/2008/layout/HalfCircleOrganizationChart"/>
    <dgm:cxn modelId="{A2B7F375-DACA-4B2E-B779-47AF3CE220EC}" type="presParOf" srcId="{562E74EC-B0A8-4108-A151-36730F331258}" destId="{F0A32AB5-8579-44EC-9960-BE16FF1B1FEF}" srcOrd="0" destOrd="0" presId="urn:microsoft.com/office/officeart/2008/layout/HalfCircleOrganizationChart"/>
    <dgm:cxn modelId="{43C93964-C5AB-49D7-B80E-8CCAF1002EDF}" type="presParOf" srcId="{F0A32AB5-8579-44EC-9960-BE16FF1B1FEF}" destId="{E55F957A-07C6-49C7-B8D0-D55513FC4CD1}" srcOrd="0" destOrd="0" presId="urn:microsoft.com/office/officeart/2008/layout/HalfCircleOrganizationChart"/>
    <dgm:cxn modelId="{322F8523-9D69-4811-983D-96EEF0D9A83F}" type="presParOf" srcId="{F0A32AB5-8579-44EC-9960-BE16FF1B1FEF}" destId="{A726A9D5-AEB7-4019-B5DF-758D6B3111CE}" srcOrd="1" destOrd="0" presId="urn:microsoft.com/office/officeart/2008/layout/HalfCircleOrganizationChart"/>
    <dgm:cxn modelId="{1950770D-8D10-498A-A96E-7F8F43B95182}" type="presParOf" srcId="{F0A32AB5-8579-44EC-9960-BE16FF1B1FEF}" destId="{1C63F623-1EDD-4FF8-AAAF-7DC2F38EC7D8}" srcOrd="2" destOrd="0" presId="urn:microsoft.com/office/officeart/2008/layout/HalfCircleOrganizationChart"/>
    <dgm:cxn modelId="{81C85757-7202-45BF-B386-FC42B2EFA177}" type="presParOf" srcId="{F0A32AB5-8579-44EC-9960-BE16FF1B1FEF}" destId="{8B4E31BE-422F-4231-B259-B5FB2EB6F48E}" srcOrd="3" destOrd="0" presId="urn:microsoft.com/office/officeart/2008/layout/HalfCircleOrganizationChart"/>
    <dgm:cxn modelId="{4DD32137-5C4E-4297-8C49-FB59F07E0F3B}" type="presParOf" srcId="{562E74EC-B0A8-4108-A151-36730F331258}" destId="{A779D12F-744D-4E1C-A06B-0941CD48F916}" srcOrd="1" destOrd="0" presId="urn:microsoft.com/office/officeart/2008/layout/HalfCircleOrganizationChart"/>
    <dgm:cxn modelId="{3734CAB8-ED92-4B8D-B89C-A846F7F91885}" type="presParOf" srcId="{A779D12F-744D-4E1C-A06B-0941CD48F916}" destId="{FB511969-93A4-4095-9A81-2AC9BAE415A1}" srcOrd="0" destOrd="0" presId="urn:microsoft.com/office/officeart/2008/layout/HalfCircleOrganizationChart"/>
    <dgm:cxn modelId="{BA0A3937-1385-4EE7-91F5-3B7F2E01FB8B}" type="presParOf" srcId="{A779D12F-744D-4E1C-A06B-0941CD48F916}" destId="{1E2A7232-A5FC-4CA6-9575-8573EC47C9F9}" srcOrd="1" destOrd="0" presId="urn:microsoft.com/office/officeart/2008/layout/HalfCircleOrganizationChart"/>
    <dgm:cxn modelId="{2378475E-8A58-4931-9895-F30B121C377D}" type="presParOf" srcId="{1E2A7232-A5FC-4CA6-9575-8573EC47C9F9}" destId="{DB7D88B9-36FE-4E34-A98D-D8322CD92BC2}" srcOrd="0" destOrd="0" presId="urn:microsoft.com/office/officeart/2008/layout/HalfCircleOrganizationChart"/>
    <dgm:cxn modelId="{059BAB3F-AAC7-4A3A-B641-3160E8B94604}" type="presParOf" srcId="{DB7D88B9-36FE-4E34-A98D-D8322CD92BC2}" destId="{9C5C5CD1-8E22-42CE-B999-49C0623D8E18}" srcOrd="0" destOrd="0" presId="urn:microsoft.com/office/officeart/2008/layout/HalfCircleOrganizationChart"/>
    <dgm:cxn modelId="{EE40D7C9-ECC4-46CF-81D7-BC867D60E3AF}" type="presParOf" srcId="{DB7D88B9-36FE-4E34-A98D-D8322CD92BC2}" destId="{52C1AEBF-E8AE-4FA7-B4B9-DC76F0086C07}" srcOrd="1" destOrd="0" presId="urn:microsoft.com/office/officeart/2008/layout/HalfCircleOrganizationChart"/>
    <dgm:cxn modelId="{3A1A49F2-BFFE-43F2-8F8B-42FC4349AFE6}" type="presParOf" srcId="{DB7D88B9-36FE-4E34-A98D-D8322CD92BC2}" destId="{BF2886E7-D34D-4FE9-9FD3-CC8717A7A5A0}" srcOrd="2" destOrd="0" presId="urn:microsoft.com/office/officeart/2008/layout/HalfCircleOrganizationChart"/>
    <dgm:cxn modelId="{9211CE62-ECBA-40A5-AE99-46E4D725B082}" type="presParOf" srcId="{DB7D88B9-36FE-4E34-A98D-D8322CD92BC2}" destId="{1CE61441-BEF3-4295-92E5-461FB5E89CA1}" srcOrd="3" destOrd="0" presId="urn:microsoft.com/office/officeart/2008/layout/HalfCircleOrganizationChart"/>
    <dgm:cxn modelId="{87D023EF-BC10-493F-963B-BF5BC5A67D77}" type="presParOf" srcId="{1E2A7232-A5FC-4CA6-9575-8573EC47C9F9}" destId="{181B903B-8F90-4B39-9A7F-E5102353EEF4}" srcOrd="1" destOrd="0" presId="urn:microsoft.com/office/officeart/2008/layout/HalfCircleOrganizationChart"/>
    <dgm:cxn modelId="{B70F6A11-43A7-4DEC-A00A-EBE4B8F62AF0}" type="presParOf" srcId="{1E2A7232-A5FC-4CA6-9575-8573EC47C9F9}" destId="{F97EAAC0-89A4-41C7-B333-37BBD42AAA0C}" srcOrd="2" destOrd="0" presId="urn:microsoft.com/office/officeart/2008/layout/HalfCircleOrganizationChart"/>
    <dgm:cxn modelId="{447FB4DF-AEE2-44F0-A4E8-7A3C2EEE29FF}" type="presParOf" srcId="{A779D12F-744D-4E1C-A06B-0941CD48F916}" destId="{88AEB0C5-06BB-4394-A1DE-CA5C323C7A2B}" srcOrd="2" destOrd="0" presId="urn:microsoft.com/office/officeart/2008/layout/HalfCircleOrganizationChart"/>
    <dgm:cxn modelId="{006C90B5-4700-46A8-9435-9CC31ABC6E35}" type="presParOf" srcId="{A779D12F-744D-4E1C-A06B-0941CD48F916}" destId="{28EF5340-A7D9-41D0-B4DE-AC3FDF5316C2}" srcOrd="3" destOrd="0" presId="urn:microsoft.com/office/officeart/2008/layout/HalfCircleOrganizationChart"/>
    <dgm:cxn modelId="{675F2859-2C2F-4E76-B645-EFD6E350C347}" type="presParOf" srcId="{28EF5340-A7D9-41D0-B4DE-AC3FDF5316C2}" destId="{39585CCD-34D0-4A5C-BE3F-217436E6AA45}" srcOrd="0" destOrd="0" presId="urn:microsoft.com/office/officeart/2008/layout/HalfCircleOrganizationChart"/>
    <dgm:cxn modelId="{6C89EC1E-FD3B-460F-B2D8-137A5089A51A}" type="presParOf" srcId="{39585CCD-34D0-4A5C-BE3F-217436E6AA45}" destId="{BDCFCAE1-F9BB-4A3A-9CFD-A986D0E323D9}" srcOrd="0" destOrd="0" presId="urn:microsoft.com/office/officeart/2008/layout/HalfCircleOrganizationChart"/>
    <dgm:cxn modelId="{8123EB2D-1A40-41DD-ABDE-5DA996BFD365}" type="presParOf" srcId="{39585CCD-34D0-4A5C-BE3F-217436E6AA45}" destId="{FA1C68C2-8F71-4273-B61E-F93A00AF97EE}" srcOrd="1" destOrd="0" presId="urn:microsoft.com/office/officeart/2008/layout/HalfCircleOrganizationChart"/>
    <dgm:cxn modelId="{AF498E70-043E-465B-B52E-81E32E2869CF}" type="presParOf" srcId="{39585CCD-34D0-4A5C-BE3F-217436E6AA45}" destId="{4D5215C3-D8F7-4D15-862B-A78D6943FAC2}" srcOrd="2" destOrd="0" presId="urn:microsoft.com/office/officeart/2008/layout/HalfCircleOrganizationChart"/>
    <dgm:cxn modelId="{C6031981-56E2-48EB-9B1D-5B54461C2222}" type="presParOf" srcId="{39585CCD-34D0-4A5C-BE3F-217436E6AA45}" destId="{8A71B72F-DCF2-4CD7-82D6-245F00437B28}" srcOrd="3" destOrd="0" presId="urn:microsoft.com/office/officeart/2008/layout/HalfCircleOrganizationChart"/>
    <dgm:cxn modelId="{A81F0200-4C95-4ED4-825D-3C2D929778E7}" type="presParOf" srcId="{28EF5340-A7D9-41D0-B4DE-AC3FDF5316C2}" destId="{B8CA9434-74E8-41DE-8111-0C6A821F9BC3}" srcOrd="1" destOrd="0" presId="urn:microsoft.com/office/officeart/2008/layout/HalfCircleOrganizationChart"/>
    <dgm:cxn modelId="{FB939B24-13BD-40C4-87E9-F1FB2A58EFE3}" type="presParOf" srcId="{28EF5340-A7D9-41D0-B4DE-AC3FDF5316C2}" destId="{FB12856A-6E6F-459C-8BC9-E75E3A6B15F7}" srcOrd="2" destOrd="0" presId="urn:microsoft.com/office/officeart/2008/layout/HalfCircleOrganizationChart"/>
    <dgm:cxn modelId="{0D5EC984-F4BA-4931-92AA-89C926246F1C}" type="presParOf" srcId="{562E74EC-B0A8-4108-A151-36730F331258}" destId="{9A3587DC-F2B0-4D7A-81D4-61E59CB00E26}" srcOrd="2" destOrd="0" presId="urn:microsoft.com/office/officeart/2008/layout/HalfCircleOrganizationChart"/>
    <dgm:cxn modelId="{C3BE4038-F89B-4BC7-99F7-526067D5D960}" type="presParOf" srcId="{3544FE6E-81CD-4D04-B30A-7FB4C530201D}" destId="{B22E8B39-7E5D-40A3-82AE-264BEEAA84AD}" srcOrd="2" destOrd="0" presId="urn:microsoft.com/office/officeart/2008/layout/HalfCircleOrganizationChart"/>
    <dgm:cxn modelId="{9D278D35-306B-444B-8FA8-661ACA9143A8}" type="presParOf" srcId="{B22E8B39-7E5D-40A3-82AE-264BEEAA84AD}" destId="{482F2C09-7021-4147-8533-4E5D0D02C54F}" srcOrd="0" destOrd="0" presId="urn:microsoft.com/office/officeart/2008/layout/HalfCircleOrganizationChart"/>
    <dgm:cxn modelId="{403837EC-672B-421D-9176-6B52D3661451}" type="presParOf" srcId="{B22E8B39-7E5D-40A3-82AE-264BEEAA84AD}" destId="{B0A1B113-939F-4C34-9D61-DB2F13C96689}" srcOrd="1" destOrd="0" presId="urn:microsoft.com/office/officeart/2008/layout/HalfCircleOrganizationChart"/>
    <dgm:cxn modelId="{D9E77033-2036-49C9-B505-D54D587080A5}" type="presParOf" srcId="{B0A1B113-939F-4C34-9D61-DB2F13C96689}" destId="{9EF985A6-165B-4D67-B771-63DD7EAF5B4B}" srcOrd="0" destOrd="0" presId="urn:microsoft.com/office/officeart/2008/layout/HalfCircleOrganizationChart"/>
    <dgm:cxn modelId="{CD7119C3-66AC-4210-A0C0-D63CC464489F}" type="presParOf" srcId="{9EF985A6-165B-4D67-B771-63DD7EAF5B4B}" destId="{7E0D6DAD-7602-426A-8010-3A11103B65BC}" srcOrd="0" destOrd="0" presId="urn:microsoft.com/office/officeart/2008/layout/HalfCircleOrganizationChart"/>
    <dgm:cxn modelId="{02B40666-9BC2-4122-9C06-118B12CAB3B7}" type="presParOf" srcId="{9EF985A6-165B-4D67-B771-63DD7EAF5B4B}" destId="{AD19AAAC-0B1D-49A4-AD2D-AC774363C3F2}" srcOrd="1" destOrd="0" presId="urn:microsoft.com/office/officeart/2008/layout/HalfCircleOrganizationChart"/>
    <dgm:cxn modelId="{67462F41-C391-41ED-9F93-CD07B5F1FC51}" type="presParOf" srcId="{9EF985A6-165B-4D67-B771-63DD7EAF5B4B}" destId="{93F0D2D1-44A5-4E3F-BFD4-9BB004AFA5A9}" srcOrd="2" destOrd="0" presId="urn:microsoft.com/office/officeart/2008/layout/HalfCircleOrganizationChart"/>
    <dgm:cxn modelId="{4E38A339-5D26-4B46-9761-2A28DCB2A91A}" type="presParOf" srcId="{9EF985A6-165B-4D67-B771-63DD7EAF5B4B}" destId="{E20AED78-7685-40E4-8F77-5233660D9358}" srcOrd="3" destOrd="0" presId="urn:microsoft.com/office/officeart/2008/layout/HalfCircleOrganizationChart"/>
    <dgm:cxn modelId="{285B30D4-A1D7-4FC9-897F-E41C303F525D}" type="presParOf" srcId="{B0A1B113-939F-4C34-9D61-DB2F13C96689}" destId="{B3F968BE-9E87-4DA7-A366-ABA886F7F523}" srcOrd="1" destOrd="0" presId="urn:microsoft.com/office/officeart/2008/layout/HalfCircleOrganizationChart"/>
    <dgm:cxn modelId="{758F651E-9648-488B-A51B-CC80F1790F71}" type="presParOf" srcId="{B3F968BE-9E87-4DA7-A366-ABA886F7F523}" destId="{328D718F-672C-49F5-8AC3-74E5FB544048}" srcOrd="0" destOrd="0" presId="urn:microsoft.com/office/officeart/2008/layout/HalfCircleOrganizationChart"/>
    <dgm:cxn modelId="{3FB10701-419C-40ED-BB89-0940F0B4E68A}" type="presParOf" srcId="{B3F968BE-9E87-4DA7-A366-ABA886F7F523}" destId="{47345D1E-61FD-43B7-BAA9-83151F84AF1D}" srcOrd="1" destOrd="0" presId="urn:microsoft.com/office/officeart/2008/layout/HalfCircleOrganizationChart"/>
    <dgm:cxn modelId="{E1615BE5-7C94-4AB8-B0B7-2C9A3A7F0C2A}" type="presParOf" srcId="{47345D1E-61FD-43B7-BAA9-83151F84AF1D}" destId="{1D448878-7D28-42C5-858B-F7685519D441}" srcOrd="0" destOrd="0" presId="urn:microsoft.com/office/officeart/2008/layout/HalfCircleOrganizationChart"/>
    <dgm:cxn modelId="{C036A745-8DA4-4426-810A-BEED2BCEED0C}" type="presParOf" srcId="{1D448878-7D28-42C5-858B-F7685519D441}" destId="{F39D29E3-5352-4C1C-A22D-FB0244189E0C}" srcOrd="0" destOrd="0" presId="urn:microsoft.com/office/officeart/2008/layout/HalfCircleOrganizationChart"/>
    <dgm:cxn modelId="{C5E06266-F4F3-420C-8BB0-5491F76404E9}" type="presParOf" srcId="{1D448878-7D28-42C5-858B-F7685519D441}" destId="{3DC2D42C-CAF5-4F4C-8632-BE401EB9968D}" srcOrd="1" destOrd="0" presId="urn:microsoft.com/office/officeart/2008/layout/HalfCircleOrganizationChart"/>
    <dgm:cxn modelId="{BE638DD3-7A32-41E6-B6D0-89AAB71AC06B}" type="presParOf" srcId="{1D448878-7D28-42C5-858B-F7685519D441}" destId="{59578D16-DC1E-45CF-B204-C3F4AF1D55F6}" srcOrd="2" destOrd="0" presId="urn:microsoft.com/office/officeart/2008/layout/HalfCircleOrganizationChart"/>
    <dgm:cxn modelId="{CB025941-80B2-4C31-AABC-59268E50321F}" type="presParOf" srcId="{1D448878-7D28-42C5-858B-F7685519D441}" destId="{4217E7EA-7CE1-4E57-AA02-632C3084ECD5}" srcOrd="3" destOrd="0" presId="urn:microsoft.com/office/officeart/2008/layout/HalfCircleOrganizationChart"/>
    <dgm:cxn modelId="{FA265EA8-5248-4E57-9B73-6CF6F7845E9D}" type="presParOf" srcId="{47345D1E-61FD-43B7-BAA9-83151F84AF1D}" destId="{FA323F7A-BF1E-4120-AFB8-77519D9E231B}" srcOrd="1" destOrd="0" presId="urn:microsoft.com/office/officeart/2008/layout/HalfCircleOrganizationChart"/>
    <dgm:cxn modelId="{AB8479DB-624F-4312-9658-949DBD0CF14B}" type="presParOf" srcId="{47345D1E-61FD-43B7-BAA9-83151F84AF1D}" destId="{211B0911-0226-45B7-8C59-A447424E0ADF}" srcOrd="2" destOrd="0" presId="urn:microsoft.com/office/officeart/2008/layout/HalfCircleOrganizationChart"/>
    <dgm:cxn modelId="{FC15DC9A-3A6E-482C-A73E-75BE9F01FB25}" type="presParOf" srcId="{B0A1B113-939F-4C34-9D61-DB2F13C96689}" destId="{1D068527-60E2-4C82-970C-E07872693457}" srcOrd="2" destOrd="0" presId="urn:microsoft.com/office/officeart/2008/layout/HalfCircleOrganizationChar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F0FD27D-7338-433D-8522-5470A47AF4E4}" type="datetimeFigureOut">
              <a:rPr lang="nb-NO" smtClean="0"/>
              <a:pPr/>
              <a:t>14.02.2013</a:t>
            </a:fld>
            <a:endParaRPr lang="nb-NO"/>
          </a:p>
        </p:txBody>
      </p:sp>
      <p:sp>
        <p:nvSpPr>
          <p:cNvPr id="4" name="Plassholder for bunnteks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3E575386-A681-4D25-B6FB-8AC88AA6987B}" type="slidenum">
              <a:rPr lang="nb-NO" smtClean="0"/>
              <a:pPr/>
              <a:t>‹#›</a:t>
            </a:fld>
            <a:endParaRPr lang="nb-NO"/>
          </a:p>
        </p:txBody>
      </p:sp>
    </p:spTree>
    <p:extLst>
      <p:ext uri="{BB962C8B-B14F-4D97-AF65-F5344CB8AC3E}">
        <p14:creationId xmlns:p14="http://schemas.microsoft.com/office/powerpoint/2010/main" xmlns="" val="1711256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nb-NO"/>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50DFAA23-1DEB-4B89-B817-251B16100DC0}" type="datetimeFigureOut">
              <a:rPr lang="nb-NO"/>
              <a:pPr>
                <a:defRPr/>
              </a:pPr>
              <a:t>14.02.2013</a:t>
            </a:fld>
            <a:endParaRPr lang="nb-NO"/>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nb-NO" noProof="0"/>
          </a:p>
        </p:txBody>
      </p:sp>
      <p:sp>
        <p:nvSpPr>
          <p:cNvPr id="5" name="Notes Placeholder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b-NO" noProof="0"/>
          </a:p>
        </p:txBody>
      </p:sp>
      <p:sp>
        <p:nvSpPr>
          <p:cNvPr id="6" name="Footer Placehold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nb-NO"/>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2322184F-7475-499C-A940-BEA762C847CC}" type="slidenum">
              <a:rPr lang="nb-NO"/>
              <a:pPr>
                <a:defRPr/>
              </a:pPr>
              <a:t>‹#›</a:t>
            </a:fld>
            <a:endParaRPr lang="nb-NO"/>
          </a:p>
        </p:txBody>
      </p:sp>
    </p:spTree>
    <p:extLst>
      <p:ext uri="{BB962C8B-B14F-4D97-AF65-F5344CB8AC3E}">
        <p14:creationId xmlns:p14="http://schemas.microsoft.com/office/powerpoint/2010/main" xmlns="" val="31637024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D927DB37-6FE8-4494-BF6C-4EB033FD4B6F}" type="slidenum">
              <a:rPr lang="nb-NO" smtClean="0"/>
              <a:pPr eaLnBrk="1" hangingPunct="1"/>
              <a:t>8</a:t>
            </a:fld>
            <a:endParaRPr lang="nb-NO" smtClean="0"/>
          </a:p>
        </p:txBody>
      </p:sp>
      <p:sp>
        <p:nvSpPr>
          <p:cNvPr id="37891" name="Plassholder for lysbilde 1"/>
          <p:cNvSpPr>
            <a:spLocks noGrp="1" noRot="1" noChangeAspect="1" noTextEdit="1"/>
          </p:cNvSpPr>
          <p:nvPr>
            <p:ph type="sldImg"/>
          </p:nvPr>
        </p:nvSpPr>
        <p:spPr>
          <a:ln/>
        </p:spPr>
      </p:sp>
      <p:sp>
        <p:nvSpPr>
          <p:cNvPr id="37892" name="Plassholder for notater 2"/>
          <p:cNvSpPr>
            <a:spLocks noGrp="1"/>
          </p:cNvSpPr>
          <p:nvPr>
            <p:ph type="body" idx="1"/>
          </p:nvPr>
        </p:nvSpPr>
        <p:spPr>
          <a:noFill/>
        </p:spPr>
        <p:txBody>
          <a:bodyPr/>
          <a:lstStyle/>
          <a:p>
            <a:pPr eaLnBrk="1" hangingPunct="1">
              <a:spcBef>
                <a:spcPct val="0"/>
              </a:spcBef>
            </a:pPr>
            <a:endParaRPr lang="nb-NO" smtClean="0"/>
          </a:p>
        </p:txBody>
      </p:sp>
      <p:sp>
        <p:nvSpPr>
          <p:cNvPr id="37893" name="Plassholder for lysbildenummer 3"/>
          <p:cNvSpPr txBox="1">
            <a:spLocks noGrp="1"/>
          </p:cNvSpPr>
          <p:nvPr/>
        </p:nvSpPr>
        <p:spPr bwMode="auto">
          <a:xfrm>
            <a:off x="3849688" y="9428163"/>
            <a:ext cx="2946400" cy="496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1B77D55E-9492-403A-B9F4-97532BDF2A0B}" type="slidenum">
              <a:rPr lang="nb-NO" sz="1200">
                <a:latin typeface="Calibri" pitchFamily="34" charset="0"/>
              </a:rPr>
              <a:pPr algn="r" eaLnBrk="1" hangingPunct="1"/>
              <a:t>8</a:t>
            </a:fld>
            <a:endParaRPr lang="nb-NO" sz="1200">
              <a:latin typeface="Calibri"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2322184F-7475-499C-A940-BEA762C847CC}" type="slidenum">
              <a:rPr lang="nb-NO" smtClean="0"/>
              <a:pPr>
                <a:defRPr/>
              </a:pPr>
              <a:t>25</a:t>
            </a:fld>
            <a:endParaRPr lang="nb-NO"/>
          </a:p>
        </p:txBody>
      </p:sp>
    </p:spTree>
    <p:extLst>
      <p:ext uri="{BB962C8B-B14F-4D97-AF65-F5344CB8AC3E}">
        <p14:creationId xmlns:p14="http://schemas.microsoft.com/office/powerpoint/2010/main" xmlns="" val="3771768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Plassholder for lysbilde 1"/>
          <p:cNvSpPr>
            <a:spLocks noGrp="1" noRot="1" noChangeAspect="1" noTextEdit="1"/>
          </p:cNvSpPr>
          <p:nvPr>
            <p:ph type="sldImg"/>
          </p:nvPr>
        </p:nvSpPr>
        <p:spPr>
          <a:ln/>
        </p:spPr>
      </p:sp>
      <p:sp>
        <p:nvSpPr>
          <p:cNvPr id="57347" name="Plassholder for notater 2"/>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nb-NO" smtClean="0"/>
          </a:p>
        </p:txBody>
      </p:sp>
      <p:sp>
        <p:nvSpPr>
          <p:cNvPr id="57348" name="Plassholder for lysbildenummer 3"/>
          <p:cNvSpPr>
            <a:spLocks noGrp="1"/>
          </p:cNvSpPr>
          <p:nvPr>
            <p:ph type="sldNum" sz="quarter" idx="5"/>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98AE9498-57FD-4D26-8EA1-56E54BE1AA27}" type="slidenum">
              <a:rPr lang="nb-NO" smtClean="0">
                <a:solidFill>
                  <a:srgbClr val="000000"/>
                </a:solidFill>
              </a:rPr>
              <a:pPr eaLnBrk="1" hangingPunct="1"/>
              <a:t>26</a:t>
            </a:fld>
            <a:endParaRPr lang="nb-NO" smtClean="0">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2322184F-7475-499C-A940-BEA762C847CC}" type="slidenum">
              <a:rPr lang="nb-NO" smtClean="0"/>
              <a:pPr>
                <a:defRPr/>
              </a:pPr>
              <a:t>27</a:t>
            </a:fld>
            <a:endParaRPr lang="nb-NO"/>
          </a:p>
        </p:txBody>
      </p:sp>
    </p:spTree>
    <p:extLst>
      <p:ext uri="{BB962C8B-B14F-4D97-AF65-F5344CB8AC3E}">
        <p14:creationId xmlns:p14="http://schemas.microsoft.com/office/powerpoint/2010/main" xmlns="" val="3771768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30B8DE2C-3151-4801-A53A-C4AB8EAB9E9E}" type="slidenum">
              <a:rPr lang="nb-NO" smtClean="0"/>
              <a:pPr eaLnBrk="1" hangingPunct="1"/>
              <a:t>9</a:t>
            </a:fld>
            <a:endParaRPr lang="nb-NO" smtClean="0"/>
          </a:p>
        </p:txBody>
      </p:sp>
      <p:sp>
        <p:nvSpPr>
          <p:cNvPr id="38915" name="Plassholder for lysbilde 1"/>
          <p:cNvSpPr>
            <a:spLocks noGrp="1" noRot="1" noChangeAspect="1" noTextEdit="1"/>
          </p:cNvSpPr>
          <p:nvPr>
            <p:ph type="sldImg"/>
          </p:nvPr>
        </p:nvSpPr>
        <p:spPr>
          <a:ln/>
        </p:spPr>
      </p:sp>
      <p:sp>
        <p:nvSpPr>
          <p:cNvPr id="38916" name="Plassholder for notater 2"/>
          <p:cNvSpPr>
            <a:spLocks noGrp="1"/>
          </p:cNvSpPr>
          <p:nvPr>
            <p:ph type="body" idx="1"/>
          </p:nvPr>
        </p:nvSpPr>
        <p:spPr>
          <a:noFill/>
        </p:spPr>
        <p:txBody>
          <a:bodyPr/>
          <a:lstStyle/>
          <a:p>
            <a:pPr eaLnBrk="1" hangingPunct="1">
              <a:spcBef>
                <a:spcPct val="0"/>
              </a:spcBef>
            </a:pPr>
            <a:endParaRPr lang="nb-NO" smtClean="0"/>
          </a:p>
        </p:txBody>
      </p:sp>
      <p:sp>
        <p:nvSpPr>
          <p:cNvPr id="38917" name="Plassholder for lysbildenummer 3"/>
          <p:cNvSpPr txBox="1">
            <a:spLocks noGrp="1"/>
          </p:cNvSpPr>
          <p:nvPr/>
        </p:nvSpPr>
        <p:spPr bwMode="auto">
          <a:xfrm>
            <a:off x="3849688" y="9428163"/>
            <a:ext cx="2946400" cy="496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16E08CB1-2283-4279-9767-4FBEA50EB255}" type="slidenum">
              <a:rPr lang="nb-NO" sz="1200">
                <a:latin typeface="Calibri" pitchFamily="34" charset="0"/>
              </a:rPr>
              <a:pPr algn="r" eaLnBrk="1" hangingPunct="1"/>
              <a:t>9</a:t>
            </a:fld>
            <a:endParaRPr lang="nb-NO" sz="1200">
              <a:latin typeface="Calibri"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a:defRPr/>
            </a:pPr>
            <a:fld id="{2322184F-7475-499C-A940-BEA762C847CC}" type="slidenum">
              <a:rPr lang="nb-NO" smtClean="0"/>
              <a:pPr>
                <a:defRPr/>
              </a:pPr>
              <a:t>17</a:t>
            </a:fld>
            <a:endParaRPr lang="nb-NO"/>
          </a:p>
        </p:txBody>
      </p:sp>
    </p:spTree>
    <p:extLst>
      <p:ext uri="{BB962C8B-B14F-4D97-AF65-F5344CB8AC3E}">
        <p14:creationId xmlns:p14="http://schemas.microsoft.com/office/powerpoint/2010/main" xmlns="" val="1451108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2322184F-7475-499C-A940-BEA762C847CC}" type="slidenum">
              <a:rPr lang="nb-NO" smtClean="0"/>
              <a:pPr>
                <a:defRPr/>
              </a:pPr>
              <a:t>18</a:t>
            </a:fld>
            <a:endParaRPr lang="nb-NO"/>
          </a:p>
        </p:txBody>
      </p:sp>
    </p:spTree>
    <p:extLst>
      <p:ext uri="{BB962C8B-B14F-4D97-AF65-F5344CB8AC3E}">
        <p14:creationId xmlns:p14="http://schemas.microsoft.com/office/powerpoint/2010/main" xmlns="" val="3771768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2322184F-7475-499C-A940-BEA762C847CC}" type="slidenum">
              <a:rPr lang="nb-NO" smtClean="0"/>
              <a:pPr>
                <a:defRPr/>
              </a:pPr>
              <a:t>20</a:t>
            </a:fld>
            <a:endParaRPr lang="nb-NO"/>
          </a:p>
        </p:txBody>
      </p:sp>
    </p:spTree>
    <p:extLst>
      <p:ext uri="{BB962C8B-B14F-4D97-AF65-F5344CB8AC3E}">
        <p14:creationId xmlns:p14="http://schemas.microsoft.com/office/powerpoint/2010/main" xmlns="" val="3771768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2322184F-7475-499C-A940-BEA762C847CC}" type="slidenum">
              <a:rPr lang="nb-NO" smtClean="0"/>
              <a:pPr>
                <a:defRPr/>
              </a:pPr>
              <a:t>21</a:t>
            </a:fld>
            <a:endParaRPr lang="nb-NO"/>
          </a:p>
        </p:txBody>
      </p:sp>
    </p:spTree>
    <p:extLst>
      <p:ext uri="{BB962C8B-B14F-4D97-AF65-F5344CB8AC3E}">
        <p14:creationId xmlns:p14="http://schemas.microsoft.com/office/powerpoint/2010/main" xmlns="" val="3771768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2322184F-7475-499C-A940-BEA762C847CC}" type="slidenum">
              <a:rPr lang="nb-NO" smtClean="0"/>
              <a:pPr>
                <a:defRPr/>
              </a:pPr>
              <a:t>22</a:t>
            </a:fld>
            <a:endParaRPr lang="nb-NO"/>
          </a:p>
        </p:txBody>
      </p:sp>
    </p:spTree>
    <p:extLst>
      <p:ext uri="{BB962C8B-B14F-4D97-AF65-F5344CB8AC3E}">
        <p14:creationId xmlns:p14="http://schemas.microsoft.com/office/powerpoint/2010/main" xmlns="" val="3771768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2322184F-7475-499C-A940-BEA762C847CC}" type="slidenum">
              <a:rPr lang="nb-NO" smtClean="0"/>
              <a:pPr>
                <a:defRPr/>
              </a:pPr>
              <a:t>23</a:t>
            </a:fld>
            <a:endParaRPr lang="nb-NO"/>
          </a:p>
        </p:txBody>
      </p:sp>
    </p:spTree>
    <p:extLst>
      <p:ext uri="{BB962C8B-B14F-4D97-AF65-F5344CB8AC3E}">
        <p14:creationId xmlns:p14="http://schemas.microsoft.com/office/powerpoint/2010/main" xmlns="" val="37717680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2322184F-7475-499C-A940-BEA762C847CC}" type="slidenum">
              <a:rPr lang="nb-NO" smtClean="0"/>
              <a:pPr>
                <a:defRPr/>
              </a:pPr>
              <a:t>24</a:t>
            </a:fld>
            <a:endParaRPr lang="nb-NO"/>
          </a:p>
        </p:txBody>
      </p:sp>
    </p:spTree>
    <p:extLst>
      <p:ext uri="{BB962C8B-B14F-4D97-AF65-F5344CB8AC3E}">
        <p14:creationId xmlns:p14="http://schemas.microsoft.com/office/powerpoint/2010/main" xmlns="" val="37717680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pic>
        <p:nvPicPr>
          <p:cNvPr id="4" name="Picture 8" descr="var4_bg.jpg"/>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1700213"/>
            <a:ext cx="9144000" cy="5157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7" descr="header_var2.png"/>
          <p:cNvPicPr>
            <a:picLocks noChangeAspect="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9144000" cy="676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1299600" y="1463106"/>
            <a:ext cx="6512400" cy="741600"/>
          </a:xfrm>
        </p:spPr>
        <p:txBody>
          <a:bodyPr/>
          <a:lstStyle/>
          <a:p>
            <a:r>
              <a:rPr lang="nb-NO" noProof="0" smtClean="0"/>
              <a:t>Klikk for å redigere tittelstil</a:t>
            </a:r>
            <a:endParaRPr lang="nb-NO" noProof="0" dirty="0"/>
          </a:p>
        </p:txBody>
      </p:sp>
      <p:sp>
        <p:nvSpPr>
          <p:cNvPr id="3" name="Subtitle 2"/>
          <p:cNvSpPr>
            <a:spLocks noGrp="1"/>
          </p:cNvSpPr>
          <p:nvPr>
            <p:ph type="subTitle" idx="1"/>
          </p:nvPr>
        </p:nvSpPr>
        <p:spPr>
          <a:xfrm>
            <a:off x="1298386" y="2160000"/>
            <a:ext cx="6513973" cy="478904"/>
          </a:xfrm>
        </p:spPr>
        <p:txBody>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noProof="0" smtClean="0"/>
              <a:t>Klikk for å redigere undertittelstil i malen</a:t>
            </a:r>
            <a:endParaRPr lang="nb-NO" noProof="0"/>
          </a:p>
        </p:txBody>
      </p:sp>
      <p:sp>
        <p:nvSpPr>
          <p:cNvPr id="6" name="Footer Placeholder 4"/>
          <p:cNvSpPr>
            <a:spLocks noGrp="1"/>
          </p:cNvSpPr>
          <p:nvPr>
            <p:ph type="ftr" sz="quarter" idx="10"/>
          </p:nvPr>
        </p:nvSpPr>
        <p:spPr>
          <a:xfrm>
            <a:off x="2366963" y="654050"/>
            <a:ext cx="6538912" cy="365125"/>
          </a:xfrm>
        </p:spPr>
        <p:txBody>
          <a:bodyPr lIns="0" rIns="0"/>
          <a:lstStyle>
            <a:lvl1pPr algn="r">
              <a:defRPr sz="1600">
                <a:solidFill>
                  <a:schemeClr val="tx1"/>
                </a:solidFill>
              </a:defRPr>
            </a:lvl1pPr>
          </a:lstStyle>
          <a:p>
            <a:pPr>
              <a:defRPr/>
            </a:pPr>
            <a:r>
              <a:rPr lang="nb-NO"/>
              <a:t>Navn og dato slik: Navn </a:t>
            </a:r>
            <a:r>
              <a:rPr lang="nb-NO" err="1"/>
              <a:t>Navnesen</a:t>
            </a:r>
            <a:r>
              <a:rPr lang="nb-NO"/>
              <a:t>, 2. mars 2011</a:t>
            </a:r>
          </a:p>
        </p:txBody>
      </p:sp>
      <p:sp>
        <p:nvSpPr>
          <p:cNvPr id="7" name="Date Placeholder 5"/>
          <p:cNvSpPr>
            <a:spLocks noGrp="1"/>
          </p:cNvSpPr>
          <p:nvPr>
            <p:ph type="dt" sz="half" idx="11"/>
          </p:nvPr>
        </p:nvSpPr>
        <p:spPr/>
        <p:txBody>
          <a:bodyPr/>
          <a:lstStyle>
            <a:lvl1pPr algn="l">
              <a:defRPr sz="100">
                <a:solidFill>
                  <a:schemeClr val="bg1"/>
                </a:solidFill>
              </a:defRPr>
            </a:lvl1pPr>
          </a:lstStyle>
          <a:p>
            <a:pPr>
              <a:defRPr/>
            </a:pPr>
            <a:fld id="{ED9CE75D-59A2-4E1E-BD50-E5291F1DCA7E}" type="datetimeFigureOut">
              <a:rPr lang="en-GB"/>
              <a:pPr>
                <a:defRPr/>
              </a:pPr>
              <a:t>14/02/2013</a:t>
            </a:fld>
            <a:endParaRPr lang="en-GB"/>
          </a:p>
        </p:txBody>
      </p:sp>
    </p:spTree>
    <p:extLst>
      <p:ext uri="{BB962C8B-B14F-4D97-AF65-F5344CB8AC3E}">
        <p14:creationId xmlns:p14="http://schemas.microsoft.com/office/powerpoint/2010/main" xmlns="" val="2452633839"/>
      </p:ext>
    </p:extLst>
  </p:cSld>
  <p:clrMapOvr>
    <a:masterClrMapping/>
  </p:clrMapOvr>
  <p:transition spd="slow" advTm="0">
    <p:wheel spokes="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noProof="0" smtClean="0"/>
              <a:t>Klikk for å redigere tittelstil</a:t>
            </a:r>
            <a:endParaRPr lang="nb-NO" noProof="0" dirty="0"/>
          </a:p>
        </p:txBody>
      </p:sp>
      <p:sp>
        <p:nvSpPr>
          <p:cNvPr id="3" name="Content Placeholder 2"/>
          <p:cNvSpPr>
            <a:spLocks noGrp="1"/>
          </p:cNvSpPr>
          <p:nvPr>
            <p:ph idx="1"/>
          </p:nvPr>
        </p:nvSpPr>
        <p:spPr/>
        <p:txBody>
          <a:bodyPr/>
          <a:lstStyle/>
          <a:p>
            <a:pPr lvl="0"/>
            <a:r>
              <a:rPr lang="nb-NO" noProof="0" smtClean="0"/>
              <a:t>Klikk for å redigere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endParaRPr lang="nb-NO" noProof="0" dirty="0"/>
          </a:p>
        </p:txBody>
      </p:sp>
      <p:sp>
        <p:nvSpPr>
          <p:cNvPr id="4" name="Date Placeholder 5"/>
          <p:cNvSpPr>
            <a:spLocks noGrp="1"/>
          </p:cNvSpPr>
          <p:nvPr>
            <p:ph type="dt" sz="half" idx="10"/>
          </p:nvPr>
        </p:nvSpPr>
        <p:spPr/>
        <p:txBody>
          <a:bodyPr/>
          <a:lstStyle>
            <a:lvl1pPr>
              <a:defRPr/>
            </a:lvl1pPr>
          </a:lstStyle>
          <a:p>
            <a:pPr>
              <a:defRPr/>
            </a:pPr>
            <a:fld id="{3900BEFF-B052-468B-BD05-EF165798B17B}" type="datetimeFigureOut">
              <a:rPr lang="en-GB"/>
              <a:pPr>
                <a:defRPr/>
              </a:pPr>
              <a:t>14/02/2013</a:t>
            </a:fld>
            <a:endParaRPr lang="en-GB"/>
          </a:p>
        </p:txBody>
      </p:sp>
      <p:sp>
        <p:nvSpPr>
          <p:cNvPr id="5" name="Footer Placeholder 8"/>
          <p:cNvSpPr>
            <a:spLocks noGrp="1"/>
          </p:cNvSpPr>
          <p:nvPr>
            <p:ph type="ftr" sz="quarter" idx="11"/>
          </p:nvPr>
        </p:nvSpPr>
        <p:spPr/>
        <p:txBody>
          <a:bodyPr/>
          <a:lstStyle>
            <a:lvl1pPr>
              <a:defRPr/>
            </a:lvl1pPr>
          </a:lstStyle>
          <a:p>
            <a:pPr>
              <a:defRPr/>
            </a:pPr>
            <a:endParaRPr lang="en-GB"/>
          </a:p>
        </p:txBody>
      </p:sp>
    </p:spTree>
    <p:extLst>
      <p:ext uri="{BB962C8B-B14F-4D97-AF65-F5344CB8AC3E}">
        <p14:creationId xmlns:p14="http://schemas.microsoft.com/office/powerpoint/2010/main" xmlns="" val="4111208201"/>
      </p:ext>
    </p:extLst>
  </p:cSld>
  <p:clrMapOvr>
    <a:masterClrMapping/>
  </p:clrMapOvr>
  <p:transition spd="slow" advTm="0">
    <p:wheel spokes="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tel og innhold - 2 boks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noProof="0" smtClean="0"/>
              <a:t>Klikk for å redigere tittelstil</a:t>
            </a:r>
            <a:endParaRPr lang="nb-NO" noProof="0" dirty="0"/>
          </a:p>
        </p:txBody>
      </p:sp>
      <p:sp>
        <p:nvSpPr>
          <p:cNvPr id="3" name="Content Placeholder 2"/>
          <p:cNvSpPr>
            <a:spLocks noGrp="1"/>
          </p:cNvSpPr>
          <p:nvPr>
            <p:ph idx="1"/>
          </p:nvPr>
        </p:nvSpPr>
        <p:spPr>
          <a:xfrm>
            <a:off x="1526400" y="2170800"/>
            <a:ext cx="3312000" cy="4089600"/>
          </a:xfrm>
        </p:spPr>
        <p:txBody>
          <a:bodyPr/>
          <a:lstStyle/>
          <a:p>
            <a:pPr lvl="0"/>
            <a:r>
              <a:rPr lang="nb-NO" noProof="0" smtClean="0"/>
              <a:t>Klikk for å redigere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endParaRPr lang="nb-NO" noProof="0" dirty="0"/>
          </a:p>
        </p:txBody>
      </p:sp>
      <p:sp>
        <p:nvSpPr>
          <p:cNvPr id="4" name="Content Placeholder 2"/>
          <p:cNvSpPr>
            <a:spLocks noGrp="1"/>
          </p:cNvSpPr>
          <p:nvPr>
            <p:ph idx="10"/>
          </p:nvPr>
        </p:nvSpPr>
        <p:spPr>
          <a:xfrm>
            <a:off x="4955400" y="2170800"/>
            <a:ext cx="3312000" cy="4089600"/>
          </a:xfrm>
        </p:spPr>
        <p:txBody>
          <a:bodyPr/>
          <a:lstStyle/>
          <a:p>
            <a:pPr lvl="0"/>
            <a:r>
              <a:rPr lang="nb-NO" noProof="0" smtClean="0"/>
              <a:t>Klikk for å redigere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endParaRPr lang="nb-NO" noProof="0" dirty="0"/>
          </a:p>
        </p:txBody>
      </p:sp>
      <p:sp>
        <p:nvSpPr>
          <p:cNvPr id="5" name="Date Placeholder 5"/>
          <p:cNvSpPr>
            <a:spLocks noGrp="1"/>
          </p:cNvSpPr>
          <p:nvPr>
            <p:ph type="dt" sz="half" idx="11"/>
          </p:nvPr>
        </p:nvSpPr>
        <p:spPr/>
        <p:txBody>
          <a:bodyPr/>
          <a:lstStyle>
            <a:lvl1pPr>
              <a:defRPr/>
            </a:lvl1pPr>
          </a:lstStyle>
          <a:p>
            <a:pPr>
              <a:defRPr/>
            </a:pPr>
            <a:fld id="{742440C2-7747-49EC-B639-96DA4778AC01}" type="datetimeFigureOut">
              <a:rPr lang="en-GB"/>
              <a:pPr>
                <a:defRPr/>
              </a:pPr>
              <a:t>14/02/2013</a:t>
            </a:fld>
            <a:endParaRPr lang="en-GB"/>
          </a:p>
        </p:txBody>
      </p:sp>
      <p:sp>
        <p:nvSpPr>
          <p:cNvPr id="6" name="Footer Placeholder 8"/>
          <p:cNvSpPr>
            <a:spLocks noGrp="1"/>
          </p:cNvSpPr>
          <p:nvPr>
            <p:ph type="ftr" sz="quarter" idx="12"/>
          </p:nvPr>
        </p:nvSpPr>
        <p:spPr/>
        <p:txBody>
          <a:bodyPr/>
          <a:lstStyle>
            <a:lvl1pPr>
              <a:defRPr/>
            </a:lvl1pPr>
          </a:lstStyle>
          <a:p>
            <a:pPr>
              <a:defRPr/>
            </a:pPr>
            <a:endParaRPr lang="en-GB"/>
          </a:p>
        </p:txBody>
      </p:sp>
    </p:spTree>
    <p:extLst>
      <p:ext uri="{BB962C8B-B14F-4D97-AF65-F5344CB8AC3E}">
        <p14:creationId xmlns:p14="http://schemas.microsoft.com/office/powerpoint/2010/main" xmlns="" val="3401773896"/>
      </p:ext>
    </p:extLst>
  </p:cSld>
  <p:clrMapOvr>
    <a:masterClrMapping/>
  </p:clrMapOvr>
  <p:transition spd="slow" advTm="0">
    <p:wheel spokes="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noProof="0" smtClean="0"/>
              <a:t>Klikk for å redigere tittelstil</a:t>
            </a:r>
            <a:endParaRPr lang="nb-NO" noProof="0" dirty="0"/>
          </a:p>
        </p:txBody>
      </p:sp>
      <p:sp>
        <p:nvSpPr>
          <p:cNvPr id="3" name="Text Placeholder 2"/>
          <p:cNvSpPr>
            <a:spLocks noGrp="1"/>
          </p:cNvSpPr>
          <p:nvPr>
            <p:ph type="body" idx="1"/>
          </p:nvPr>
        </p:nvSpPr>
        <p:spPr>
          <a:xfrm>
            <a:off x="1526400" y="2168662"/>
            <a:ext cx="33120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noProof="0" smtClean="0"/>
              <a:t>Klikk for å redigere tekststiler i malen</a:t>
            </a:r>
          </a:p>
        </p:txBody>
      </p:sp>
      <p:sp>
        <p:nvSpPr>
          <p:cNvPr id="5" name="Text Placeholder 4"/>
          <p:cNvSpPr>
            <a:spLocks noGrp="1"/>
          </p:cNvSpPr>
          <p:nvPr>
            <p:ph type="body" sz="quarter" idx="3"/>
          </p:nvPr>
        </p:nvSpPr>
        <p:spPr>
          <a:xfrm>
            <a:off x="4957200" y="2168662"/>
            <a:ext cx="33120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noProof="0" smtClean="0"/>
              <a:t>Klikk for å redigere tekststiler i malen</a:t>
            </a:r>
          </a:p>
        </p:txBody>
      </p:sp>
      <p:sp>
        <p:nvSpPr>
          <p:cNvPr id="10" name="Content Placeholder 2"/>
          <p:cNvSpPr>
            <a:spLocks noGrp="1"/>
          </p:cNvSpPr>
          <p:nvPr>
            <p:ph idx="13"/>
          </p:nvPr>
        </p:nvSpPr>
        <p:spPr>
          <a:xfrm>
            <a:off x="1526400" y="2874645"/>
            <a:ext cx="3312000" cy="3385713"/>
          </a:xfrm>
        </p:spPr>
        <p:txBody>
          <a:bodyPr/>
          <a:lstStyle/>
          <a:p>
            <a:pPr lvl="0"/>
            <a:r>
              <a:rPr lang="nb-NO" noProof="0" smtClean="0"/>
              <a:t>Klikk for å redigere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endParaRPr lang="nb-NO" noProof="0" dirty="0"/>
          </a:p>
        </p:txBody>
      </p:sp>
      <p:sp>
        <p:nvSpPr>
          <p:cNvPr id="11" name="Content Placeholder 2"/>
          <p:cNvSpPr>
            <a:spLocks noGrp="1"/>
          </p:cNvSpPr>
          <p:nvPr>
            <p:ph idx="14"/>
          </p:nvPr>
        </p:nvSpPr>
        <p:spPr>
          <a:xfrm>
            <a:off x="4955400" y="2875982"/>
            <a:ext cx="3312000" cy="3385713"/>
          </a:xfrm>
        </p:spPr>
        <p:txBody>
          <a:bodyPr/>
          <a:lstStyle/>
          <a:p>
            <a:pPr lvl="0"/>
            <a:r>
              <a:rPr lang="nb-NO" noProof="0" smtClean="0"/>
              <a:t>Klikk for å redigere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endParaRPr lang="nb-NO" noProof="0"/>
          </a:p>
        </p:txBody>
      </p:sp>
      <p:sp>
        <p:nvSpPr>
          <p:cNvPr id="7" name="Date Placeholder 5"/>
          <p:cNvSpPr>
            <a:spLocks noGrp="1"/>
          </p:cNvSpPr>
          <p:nvPr>
            <p:ph type="dt" sz="half" idx="15"/>
          </p:nvPr>
        </p:nvSpPr>
        <p:spPr/>
        <p:txBody>
          <a:bodyPr/>
          <a:lstStyle>
            <a:lvl1pPr>
              <a:defRPr/>
            </a:lvl1pPr>
          </a:lstStyle>
          <a:p>
            <a:pPr>
              <a:defRPr/>
            </a:pPr>
            <a:fld id="{69F18BEB-A63D-4FEF-B724-C1371F4ACD0D}" type="datetimeFigureOut">
              <a:rPr lang="en-GB"/>
              <a:pPr>
                <a:defRPr/>
              </a:pPr>
              <a:t>14/02/2013</a:t>
            </a:fld>
            <a:endParaRPr lang="en-GB"/>
          </a:p>
        </p:txBody>
      </p:sp>
      <p:sp>
        <p:nvSpPr>
          <p:cNvPr id="8" name="Footer Placeholder 8"/>
          <p:cNvSpPr>
            <a:spLocks noGrp="1"/>
          </p:cNvSpPr>
          <p:nvPr>
            <p:ph type="ftr" sz="quarter" idx="16"/>
          </p:nvPr>
        </p:nvSpPr>
        <p:spPr/>
        <p:txBody>
          <a:bodyPr/>
          <a:lstStyle>
            <a:lvl1pPr>
              <a:defRPr/>
            </a:lvl1pPr>
          </a:lstStyle>
          <a:p>
            <a:pPr>
              <a:defRPr/>
            </a:pPr>
            <a:endParaRPr lang="en-GB"/>
          </a:p>
        </p:txBody>
      </p:sp>
    </p:spTree>
    <p:extLst>
      <p:ext uri="{BB962C8B-B14F-4D97-AF65-F5344CB8AC3E}">
        <p14:creationId xmlns:p14="http://schemas.microsoft.com/office/powerpoint/2010/main" xmlns="" val="3573677326"/>
      </p:ext>
    </p:extLst>
  </p:cSld>
  <p:clrMapOvr>
    <a:masterClrMapping/>
  </p:clrMapOvr>
  <p:transition spd="slow" advTm="0">
    <p:wheel spokes="1"/>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un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noProof="0" smtClean="0"/>
              <a:t>Klikk for å redigere tittelstil</a:t>
            </a:r>
            <a:endParaRPr lang="nb-NO" noProof="0"/>
          </a:p>
        </p:txBody>
      </p:sp>
      <p:sp>
        <p:nvSpPr>
          <p:cNvPr id="3" name="Date Placeholder 5"/>
          <p:cNvSpPr>
            <a:spLocks noGrp="1"/>
          </p:cNvSpPr>
          <p:nvPr>
            <p:ph type="dt" sz="half" idx="10"/>
          </p:nvPr>
        </p:nvSpPr>
        <p:spPr/>
        <p:txBody>
          <a:bodyPr/>
          <a:lstStyle>
            <a:lvl1pPr>
              <a:defRPr/>
            </a:lvl1pPr>
          </a:lstStyle>
          <a:p>
            <a:pPr>
              <a:defRPr/>
            </a:pPr>
            <a:fld id="{9996FE5B-748D-41AA-A153-DEF4FE8A6AA9}" type="datetimeFigureOut">
              <a:rPr lang="en-GB"/>
              <a:pPr>
                <a:defRPr/>
              </a:pPr>
              <a:t>14/02/2013</a:t>
            </a:fld>
            <a:endParaRPr lang="en-GB"/>
          </a:p>
        </p:txBody>
      </p:sp>
      <p:sp>
        <p:nvSpPr>
          <p:cNvPr id="4" name="Footer Placeholder 8"/>
          <p:cNvSpPr>
            <a:spLocks noGrp="1"/>
          </p:cNvSpPr>
          <p:nvPr>
            <p:ph type="ftr" sz="quarter" idx="11"/>
          </p:nvPr>
        </p:nvSpPr>
        <p:spPr/>
        <p:txBody>
          <a:bodyPr/>
          <a:lstStyle>
            <a:lvl1pPr>
              <a:defRPr/>
            </a:lvl1pPr>
          </a:lstStyle>
          <a:p>
            <a:pPr>
              <a:defRPr/>
            </a:pPr>
            <a:endParaRPr lang="en-GB"/>
          </a:p>
        </p:txBody>
      </p:sp>
    </p:spTree>
    <p:extLst>
      <p:ext uri="{BB962C8B-B14F-4D97-AF65-F5344CB8AC3E}">
        <p14:creationId xmlns:p14="http://schemas.microsoft.com/office/powerpoint/2010/main" xmlns="" val="1997695791"/>
      </p:ext>
    </p:extLst>
  </p:cSld>
  <p:clrMapOvr>
    <a:masterClrMapping/>
  </p:clrMapOvr>
  <p:transition spd="slow" advTm="0">
    <p:wheel spokes="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Date Placeholder 5"/>
          <p:cNvSpPr>
            <a:spLocks noGrp="1"/>
          </p:cNvSpPr>
          <p:nvPr>
            <p:ph type="dt" sz="half" idx="10"/>
          </p:nvPr>
        </p:nvSpPr>
        <p:spPr/>
        <p:txBody>
          <a:bodyPr/>
          <a:lstStyle>
            <a:lvl1pPr>
              <a:defRPr/>
            </a:lvl1pPr>
          </a:lstStyle>
          <a:p>
            <a:pPr>
              <a:defRPr/>
            </a:pPr>
            <a:fld id="{157A9934-67F7-4590-BC8C-A01E2935F486}" type="datetimeFigureOut">
              <a:rPr lang="en-GB"/>
              <a:pPr>
                <a:defRPr/>
              </a:pPr>
              <a:t>14/02/2013</a:t>
            </a:fld>
            <a:endParaRPr lang="en-GB"/>
          </a:p>
        </p:txBody>
      </p:sp>
      <p:sp>
        <p:nvSpPr>
          <p:cNvPr id="3" name="Footer Placeholder 8"/>
          <p:cNvSpPr>
            <a:spLocks noGrp="1"/>
          </p:cNvSpPr>
          <p:nvPr>
            <p:ph type="ftr" sz="quarter" idx="11"/>
          </p:nvPr>
        </p:nvSpPr>
        <p:spPr/>
        <p:txBody>
          <a:bodyPr/>
          <a:lstStyle>
            <a:lvl1pPr>
              <a:defRPr/>
            </a:lvl1pPr>
          </a:lstStyle>
          <a:p>
            <a:pPr>
              <a:defRPr/>
            </a:pPr>
            <a:endParaRPr lang="en-GB"/>
          </a:p>
        </p:txBody>
      </p:sp>
    </p:spTree>
    <p:extLst>
      <p:ext uri="{BB962C8B-B14F-4D97-AF65-F5344CB8AC3E}">
        <p14:creationId xmlns:p14="http://schemas.microsoft.com/office/powerpoint/2010/main" xmlns="" val="2375429668"/>
      </p:ext>
    </p:extLst>
  </p:cSld>
  <p:clrMapOvr>
    <a:masterClrMapping/>
  </p:clrMapOvr>
  <p:transition spd="slow" advTm="0">
    <p:wheel spokes="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Tomt">
    <p:spTree>
      <p:nvGrpSpPr>
        <p:cNvPr id="1" name=""/>
        <p:cNvGrpSpPr/>
        <p:nvPr/>
      </p:nvGrpSpPr>
      <p:grpSpPr>
        <a:xfrm>
          <a:off x="0" y="0"/>
          <a:ext cx="0" cy="0"/>
          <a:chOff x="0" y="0"/>
          <a:chExt cx="0" cy="0"/>
        </a:xfrm>
      </p:grpSpPr>
      <p:sp>
        <p:nvSpPr>
          <p:cNvPr id="2" name="Date Placeholder 5"/>
          <p:cNvSpPr>
            <a:spLocks noGrp="1"/>
          </p:cNvSpPr>
          <p:nvPr>
            <p:ph type="dt" sz="half" idx="10"/>
          </p:nvPr>
        </p:nvSpPr>
        <p:spPr/>
        <p:txBody>
          <a:bodyPr/>
          <a:lstStyle>
            <a:lvl1pPr>
              <a:defRPr/>
            </a:lvl1pPr>
          </a:lstStyle>
          <a:p>
            <a:pPr>
              <a:defRPr/>
            </a:pPr>
            <a:fld id="{498F7B70-4A65-4B88-9571-AAE367C4D197}" type="datetimeFigureOut">
              <a:rPr lang="en-GB"/>
              <a:pPr>
                <a:defRPr/>
              </a:pPr>
              <a:t>14/02/2013</a:t>
            </a:fld>
            <a:endParaRPr lang="en-GB"/>
          </a:p>
        </p:txBody>
      </p:sp>
      <p:sp>
        <p:nvSpPr>
          <p:cNvPr id="3" name="Footer Placeholder 8"/>
          <p:cNvSpPr>
            <a:spLocks noGrp="1"/>
          </p:cNvSpPr>
          <p:nvPr>
            <p:ph type="ftr" sz="quarter" idx="11"/>
          </p:nvPr>
        </p:nvSpPr>
        <p:spPr/>
        <p:txBody>
          <a:bodyPr/>
          <a:lstStyle>
            <a:lvl1pPr>
              <a:defRPr/>
            </a:lvl1pPr>
          </a:lstStyle>
          <a:p>
            <a:pPr>
              <a:defRPr/>
            </a:pPr>
            <a:endParaRPr lang="en-GB"/>
          </a:p>
        </p:txBody>
      </p:sp>
    </p:spTree>
    <p:extLst>
      <p:ext uri="{BB962C8B-B14F-4D97-AF65-F5344CB8AC3E}">
        <p14:creationId xmlns:p14="http://schemas.microsoft.com/office/powerpoint/2010/main" xmlns="" val="2825266193"/>
      </p:ext>
    </p:extLst>
  </p:cSld>
  <p:clrMapOvr>
    <a:masterClrMapping/>
  </p:clrMapOvr>
  <p:transition spd="slow" advTm="0">
    <p:wheel spokes="1"/>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527175" y="1277938"/>
            <a:ext cx="6740525" cy="855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bodyPr>
          <a:lstStyle/>
          <a:p>
            <a:pPr lvl="0"/>
            <a:r>
              <a:rPr lang="nb-NO" smtClean="0"/>
              <a:t>Klikk for å redigere tittelstil</a:t>
            </a:r>
          </a:p>
        </p:txBody>
      </p:sp>
      <p:sp>
        <p:nvSpPr>
          <p:cNvPr id="1027" name="Text Placeholder 2"/>
          <p:cNvSpPr>
            <a:spLocks noGrp="1"/>
          </p:cNvSpPr>
          <p:nvPr>
            <p:ph type="body" idx="1"/>
          </p:nvPr>
        </p:nvSpPr>
        <p:spPr bwMode="auto">
          <a:xfrm>
            <a:off x="1527175" y="2170113"/>
            <a:ext cx="6742113" cy="4094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p>
        </p:txBody>
      </p:sp>
      <p:pic>
        <p:nvPicPr>
          <p:cNvPr id="1028" name="Picture 8"/>
          <p:cNvPicPr>
            <a:picLocks noChangeAspect="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0" y="0"/>
            <a:ext cx="9144000" cy="731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9" name="Picture 6" descr="var4_footer.png"/>
          <p:cNvPicPr>
            <a:picLocks noChangeAspect="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0" y="6675438"/>
            <a:ext cx="9144000"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Date Placeholder 5"/>
          <p:cNvSpPr>
            <a:spLocks noGrp="1"/>
          </p:cNvSpPr>
          <p:nvPr>
            <p:ph type="dt" sz="half" idx="2"/>
          </p:nvPr>
        </p:nvSpPr>
        <p:spPr>
          <a:xfrm>
            <a:off x="0" y="0"/>
            <a:ext cx="0" cy="0"/>
          </a:xfrm>
          <a:prstGeom prst="rect">
            <a:avLst/>
          </a:prstGeom>
        </p:spPr>
        <p:txBody>
          <a:bodyPr vert="horz" lIns="91440" tIns="45720" rIns="91440" bIns="45720" rtlCol="0" anchor="ctr"/>
          <a:lstStyle>
            <a:lvl1pPr algn="l" fontAlgn="auto">
              <a:spcBef>
                <a:spcPts val="0"/>
              </a:spcBef>
              <a:spcAft>
                <a:spcPts val="0"/>
              </a:spcAft>
              <a:defRPr sz="100">
                <a:solidFill>
                  <a:schemeClr val="bg1"/>
                </a:solidFill>
                <a:latin typeface="+mn-lt"/>
              </a:defRPr>
            </a:lvl1pPr>
          </a:lstStyle>
          <a:p>
            <a:pPr>
              <a:defRPr/>
            </a:pPr>
            <a:fld id="{8254C0E7-1A7A-460F-B166-CC27B0EE10A1}" type="datetimeFigureOut">
              <a:rPr lang="en-GB"/>
              <a:pPr>
                <a:defRPr/>
              </a:pPr>
              <a:t>14/02/2013</a:t>
            </a:fld>
            <a:endParaRPr lang="en-GB"/>
          </a:p>
        </p:txBody>
      </p:sp>
      <p:sp>
        <p:nvSpPr>
          <p:cNvPr id="8" name="Footer Placeholder 8"/>
          <p:cNvSpPr>
            <a:spLocks noGrp="1"/>
          </p:cNvSpPr>
          <p:nvPr>
            <p:ph type="ftr" sz="quarter" idx="3"/>
          </p:nvPr>
        </p:nvSpPr>
        <p:spPr>
          <a:xfrm>
            <a:off x="0" y="0"/>
            <a:ext cx="0" cy="0"/>
          </a:xfrm>
          <a:prstGeom prst="rect">
            <a:avLst/>
          </a:prstGeom>
        </p:spPr>
        <p:txBody>
          <a:bodyPr vert="horz" lIns="91440" tIns="45720" rIns="91440" bIns="45720" rtlCol="0" anchor="ctr"/>
          <a:lstStyle>
            <a:lvl1pPr algn="ctr" fontAlgn="auto">
              <a:spcBef>
                <a:spcPts val="0"/>
              </a:spcBef>
              <a:spcAft>
                <a:spcPts val="0"/>
              </a:spcAft>
              <a:defRPr sz="100">
                <a:solidFill>
                  <a:schemeClr val="bg1"/>
                </a:solidFill>
                <a:latin typeface="+mn-lt"/>
              </a:defRPr>
            </a:lvl1pPr>
          </a:lstStyle>
          <a:p>
            <a:pPr>
              <a:defRPr/>
            </a:pPr>
            <a:endParaRPr lang="en-GB"/>
          </a:p>
        </p:txBody>
      </p:sp>
    </p:spTree>
  </p:cSld>
  <p:clrMap bg1="lt1" tx1="dk1" bg2="lt2" tx2="dk2" accent1="accent1" accent2="accent2" accent3="accent3" accent4="accent4" accent5="accent5" accent6="accent6" hlink="hlink" folHlink="folHlink"/>
  <p:sldLayoutIdLst>
    <p:sldLayoutId id="2147484304" r:id="rId1"/>
    <p:sldLayoutId id="2147484298" r:id="rId2"/>
    <p:sldLayoutId id="2147484299" r:id="rId3"/>
    <p:sldLayoutId id="2147484300" r:id="rId4"/>
    <p:sldLayoutId id="2147484301" r:id="rId5"/>
    <p:sldLayoutId id="2147484302" r:id="rId6"/>
    <p:sldLayoutId id="2147484303" r:id="rId7"/>
  </p:sldLayoutIdLst>
  <p:transition spd="slow" advTm="0">
    <p:wheel spokes="1"/>
  </p:transition>
  <p:hf sldNum="0" hdr="0" dt="0"/>
  <p:txStyles>
    <p:titleStyle>
      <a:lvl1pPr algn="l" rtl="0" eaLnBrk="0" fontAlgn="base" hangingPunct="0">
        <a:spcBef>
          <a:spcPct val="0"/>
        </a:spcBef>
        <a:spcAft>
          <a:spcPct val="0"/>
        </a:spcAft>
        <a:defRPr sz="4400" kern="12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Arial" charset="0"/>
        </a:defRPr>
      </a:lvl2pPr>
      <a:lvl3pPr algn="l" rtl="0" eaLnBrk="0" fontAlgn="base" hangingPunct="0">
        <a:spcBef>
          <a:spcPct val="0"/>
        </a:spcBef>
        <a:spcAft>
          <a:spcPct val="0"/>
        </a:spcAft>
        <a:defRPr sz="4400">
          <a:solidFill>
            <a:schemeClr val="tx1"/>
          </a:solidFill>
          <a:latin typeface="Arial" charset="0"/>
        </a:defRPr>
      </a:lvl3pPr>
      <a:lvl4pPr algn="l" rtl="0" eaLnBrk="0" fontAlgn="base" hangingPunct="0">
        <a:spcBef>
          <a:spcPct val="0"/>
        </a:spcBef>
        <a:spcAft>
          <a:spcPct val="0"/>
        </a:spcAft>
        <a:defRPr sz="4400">
          <a:solidFill>
            <a:schemeClr val="tx1"/>
          </a:solidFill>
          <a:latin typeface="Arial" charset="0"/>
        </a:defRPr>
      </a:lvl4pPr>
      <a:lvl5pPr algn="l" rtl="0" eaLnBrk="0" fontAlgn="base" hangingPunct="0">
        <a:spcBef>
          <a:spcPct val="0"/>
        </a:spcBef>
        <a:spcAft>
          <a:spcPct val="0"/>
        </a:spcAft>
        <a:defRPr sz="4400">
          <a:solidFill>
            <a:schemeClr val="tx1"/>
          </a:solidFill>
          <a:latin typeface="Arial" charset="0"/>
        </a:defRPr>
      </a:lvl5pPr>
      <a:lvl6pPr marL="457200" algn="l" rtl="0" fontAlgn="base">
        <a:spcBef>
          <a:spcPct val="0"/>
        </a:spcBef>
        <a:spcAft>
          <a:spcPct val="0"/>
        </a:spcAft>
        <a:defRPr sz="4400">
          <a:solidFill>
            <a:schemeClr val="tx1"/>
          </a:solidFill>
          <a:latin typeface="Arial" charset="0"/>
        </a:defRPr>
      </a:lvl6pPr>
      <a:lvl7pPr marL="914400" algn="l" rtl="0" fontAlgn="base">
        <a:spcBef>
          <a:spcPct val="0"/>
        </a:spcBef>
        <a:spcAft>
          <a:spcPct val="0"/>
        </a:spcAft>
        <a:defRPr sz="4400">
          <a:solidFill>
            <a:schemeClr val="tx1"/>
          </a:solidFill>
          <a:latin typeface="Arial" charset="0"/>
        </a:defRPr>
      </a:lvl7pPr>
      <a:lvl8pPr marL="1371600" algn="l" rtl="0" fontAlgn="base">
        <a:spcBef>
          <a:spcPct val="0"/>
        </a:spcBef>
        <a:spcAft>
          <a:spcPct val="0"/>
        </a:spcAft>
        <a:defRPr sz="4400">
          <a:solidFill>
            <a:schemeClr val="tx1"/>
          </a:solidFill>
          <a:latin typeface="Arial" charset="0"/>
        </a:defRPr>
      </a:lvl8pPr>
      <a:lvl9pPr marL="1828800" algn="l" rtl="0" fontAlgn="base">
        <a:spcBef>
          <a:spcPct val="0"/>
        </a:spcBef>
        <a:spcAft>
          <a:spcPct val="0"/>
        </a:spcAft>
        <a:defRPr sz="4400">
          <a:solidFill>
            <a:schemeClr val="tx1"/>
          </a:solidFill>
          <a:latin typeface="Arial" charset="0"/>
        </a:defRPr>
      </a:lvl9pPr>
    </p:titleStyle>
    <p:bodyStyle>
      <a:lvl1pPr marL="307975" indent="-307975" algn="l" rtl="0" eaLnBrk="0" fontAlgn="base" hangingPunct="0">
        <a:spcBef>
          <a:spcPts val="100"/>
        </a:spcBef>
        <a:spcAft>
          <a:spcPct val="0"/>
        </a:spcAft>
        <a:buFont typeface="Arial" charset="0"/>
        <a:buChar char="•"/>
        <a:defRPr sz="2400" kern="1200">
          <a:solidFill>
            <a:schemeClr val="tx1"/>
          </a:solidFill>
          <a:latin typeface="+mn-lt"/>
          <a:ea typeface="+mn-ea"/>
          <a:cs typeface="+mn-cs"/>
        </a:defRPr>
      </a:lvl1pPr>
      <a:lvl2pPr marL="628650" indent="-2667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2pPr>
      <a:lvl3pPr marL="895350" indent="-266700" algn="l"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257300" indent="-361950" algn="l" rtl="0" eaLnBrk="0" fontAlgn="base" hangingPunct="0">
        <a:spcBef>
          <a:spcPct val="20000"/>
        </a:spcBef>
        <a:spcAft>
          <a:spcPct val="0"/>
        </a:spcAft>
        <a:buFont typeface="Arial" charset="0"/>
        <a:buChar char="–"/>
        <a:defRPr sz="1600" kern="1200">
          <a:solidFill>
            <a:schemeClr val="tx1"/>
          </a:solidFill>
          <a:latin typeface="+mn-lt"/>
          <a:ea typeface="+mn-ea"/>
          <a:cs typeface="+mn-cs"/>
        </a:defRPr>
      </a:lvl4pPr>
      <a:lvl5pPr marL="1619250" indent="-361950" algn="l" rtl="0" eaLnBrk="0" fontAlgn="base" hangingPunct="0">
        <a:spcBef>
          <a:spcPct val="20000"/>
        </a:spcBef>
        <a:spcAft>
          <a:spcPct val="0"/>
        </a:spcAft>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oleObject" Target="../embeddings/oleObject2.bin"/><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slideLayout" Target="../slideLayouts/slideLayout6.xml"/><Relationship Id="rId5" Type="http://schemas.openxmlformats.org/officeDocument/2006/relationships/tags" Target="../tags/tag13.xml"/><Relationship Id="rId4" Type="http://schemas.openxmlformats.org/officeDocument/2006/relationships/tags" Target="../tags/tag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6.xml"/><Relationship Id="rId5" Type="http://schemas.openxmlformats.org/officeDocument/2006/relationships/tags" Target="../tags/tag4.xml"/><Relationship Id="rId4" Type="http://schemas.openxmlformats.org/officeDocument/2006/relationships/tags" Target="../tags/tag3.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txBox="1">
            <a:spLocks noGrp="1"/>
          </p:cNvSpPr>
          <p:nvPr/>
        </p:nvSpPr>
        <p:spPr>
          <a:xfrm>
            <a:off x="3124200" y="6356350"/>
            <a:ext cx="2895600" cy="365125"/>
          </a:xfrm>
          <a:prstGeom prst="rect">
            <a:avLst/>
          </a:prstGeom>
          <a:noFill/>
        </p:spPr>
        <p:txBody>
          <a:bodyPr anchor="ctr"/>
          <a:lstStyle/>
          <a:p>
            <a:pPr algn="ctr" fontAlgn="auto">
              <a:spcBef>
                <a:spcPts val="0"/>
              </a:spcBef>
              <a:spcAft>
                <a:spcPts val="0"/>
              </a:spcAft>
              <a:defRPr/>
            </a:pPr>
            <a:endParaRPr lang="en-GB" sz="1200" dirty="0">
              <a:solidFill>
                <a:schemeClr val="tx1">
                  <a:tint val="75000"/>
                </a:schemeClr>
              </a:solidFill>
              <a:latin typeface="+mn-lt"/>
            </a:endParaRPr>
          </a:p>
        </p:txBody>
      </p:sp>
      <p:pic>
        <p:nvPicPr>
          <p:cNvPr id="2051" name="Picture 8" descr="var4_bg.jp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728788"/>
            <a:ext cx="9144000" cy="515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2" name="Undertittel 2"/>
          <p:cNvSpPr>
            <a:spLocks noGrp="1"/>
          </p:cNvSpPr>
          <p:nvPr>
            <p:ph type="subTitle" idx="4294967295"/>
          </p:nvPr>
        </p:nvSpPr>
        <p:spPr>
          <a:xfrm>
            <a:off x="395288" y="1484313"/>
            <a:ext cx="5689600" cy="1008062"/>
          </a:xfrm>
        </p:spPr>
        <p:txBody>
          <a:bodyPr/>
          <a:lstStyle/>
          <a:p>
            <a:pPr marL="0" indent="0" algn="ctr" eaLnBrk="1" hangingPunct="1">
              <a:buFontTx/>
              <a:buNone/>
            </a:pPr>
            <a:r>
              <a:rPr lang="nb-NO" sz="1600" smtClean="0">
                <a:solidFill>
                  <a:srgbClr val="898989"/>
                </a:solidFill>
              </a:rPr>
              <a:t> </a:t>
            </a:r>
          </a:p>
          <a:p>
            <a:pPr marL="0" indent="0" algn="ctr" eaLnBrk="1" hangingPunct="1">
              <a:buFontTx/>
              <a:buNone/>
            </a:pPr>
            <a:endParaRPr lang="nb-NO" sz="1600" smtClean="0">
              <a:solidFill>
                <a:srgbClr val="898989"/>
              </a:solidFill>
            </a:endParaRPr>
          </a:p>
        </p:txBody>
      </p:sp>
      <p:sp>
        <p:nvSpPr>
          <p:cNvPr id="6" name="Tittel 5"/>
          <p:cNvSpPr>
            <a:spLocks noGrp="1"/>
          </p:cNvSpPr>
          <p:nvPr>
            <p:ph type="ctrTitle" idx="4294967295"/>
          </p:nvPr>
        </p:nvSpPr>
        <p:spPr>
          <a:xfrm>
            <a:off x="395536" y="764704"/>
            <a:ext cx="7416552" cy="1151409"/>
          </a:xfrm>
        </p:spPr>
        <p:txBody>
          <a:bodyPr>
            <a:normAutofit fontScale="90000"/>
          </a:bodyPr>
          <a:lstStyle/>
          <a:p>
            <a:pPr eaLnBrk="1" hangingPunct="1">
              <a:defRPr/>
            </a:pPr>
            <a:r>
              <a:rPr lang="nb-NO" sz="2200" dirty="0" smtClean="0"/>
              <a:t>«Mer tid til det som gjelder»</a:t>
            </a:r>
            <a:br>
              <a:rPr lang="nb-NO" sz="2200" dirty="0" smtClean="0"/>
            </a:br>
            <a:r>
              <a:rPr lang="nb-NO" sz="4000" dirty="0" smtClean="0">
                <a:cs typeface="Times New Roman" pitchFamily="18" charset="0"/>
              </a:rPr>
              <a:t>Standardkrav og tiltak for å bedre </a:t>
            </a:r>
            <a:br>
              <a:rPr lang="nb-NO" sz="4000" dirty="0" smtClean="0">
                <a:cs typeface="Times New Roman" pitchFamily="18" charset="0"/>
              </a:rPr>
            </a:br>
            <a:r>
              <a:rPr lang="nb-NO" sz="4000" dirty="0" smtClean="0">
                <a:cs typeface="Times New Roman" pitchFamily="18" charset="0"/>
              </a:rPr>
              <a:t>kapasitet og kvalitet på ledelse </a:t>
            </a:r>
            <a:br>
              <a:rPr lang="nb-NO" sz="4000" dirty="0" smtClean="0">
                <a:cs typeface="Times New Roman" pitchFamily="18" charset="0"/>
              </a:rPr>
            </a:br>
            <a:r>
              <a:rPr lang="nb-NO" sz="4000" dirty="0" smtClean="0">
                <a:cs typeface="Times New Roman" pitchFamily="18" charset="0"/>
              </a:rPr>
              <a:t>i videregående skole i </a:t>
            </a:r>
            <a:br>
              <a:rPr lang="nb-NO" sz="4000" dirty="0" smtClean="0">
                <a:cs typeface="Times New Roman" pitchFamily="18" charset="0"/>
              </a:rPr>
            </a:br>
            <a:r>
              <a:rPr lang="nb-NO" sz="4000" dirty="0" smtClean="0">
                <a:cs typeface="Times New Roman" pitchFamily="18" charset="0"/>
              </a:rPr>
              <a:t>Akershus fylkeskommune </a:t>
            </a:r>
            <a:br>
              <a:rPr lang="nb-NO" sz="4000" dirty="0" smtClean="0">
                <a:cs typeface="Times New Roman" pitchFamily="18" charset="0"/>
              </a:rPr>
            </a:br>
            <a:r>
              <a:rPr lang="nb-NO" sz="1100" dirty="0" smtClean="0"/>
              <a:t/>
            </a:r>
            <a:br>
              <a:rPr lang="nb-NO" sz="1100" dirty="0" smtClean="0"/>
            </a:br>
            <a:r>
              <a:rPr lang="nb-NO" sz="1100" dirty="0" smtClean="0"/>
              <a:t>Sluttrapport, Oslo, 9. mai 2012</a:t>
            </a:r>
            <a:br>
              <a:rPr lang="nb-NO" sz="1100" dirty="0" smtClean="0"/>
            </a:br>
            <a:r>
              <a:rPr lang="nb-NO" sz="4000" dirty="0" smtClean="0"/>
              <a:t/>
            </a:r>
            <a:br>
              <a:rPr lang="nb-NO" sz="4000" dirty="0" smtClean="0"/>
            </a:br>
            <a:endParaRPr lang="nb-NO" sz="2200" dirty="0" smtClean="0"/>
          </a:p>
        </p:txBody>
      </p:sp>
    </p:spTree>
    <p:extLst>
      <p:ext uri="{BB962C8B-B14F-4D97-AF65-F5344CB8AC3E}">
        <p14:creationId xmlns:p14="http://schemas.microsoft.com/office/powerpoint/2010/main" xmlns="" val="2639358705"/>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tel 4"/>
          <p:cNvSpPr>
            <a:spLocks noGrp="1"/>
          </p:cNvSpPr>
          <p:nvPr>
            <p:ph type="title" idx="4294967295"/>
          </p:nvPr>
        </p:nvSpPr>
        <p:spPr>
          <a:xfrm>
            <a:off x="1043608" y="722893"/>
            <a:ext cx="7200801" cy="650295"/>
          </a:xfrm>
        </p:spPr>
        <p:txBody>
          <a:bodyPr/>
          <a:lstStyle/>
          <a:p>
            <a:pPr eaLnBrk="1" hangingPunct="1"/>
            <a:r>
              <a:rPr lang="nb-NO" sz="2000" dirty="0" smtClean="0"/>
              <a:t>Eksempelmodell for organisering av skole. Modellen tar </a:t>
            </a:r>
            <a:br>
              <a:rPr lang="nb-NO" sz="2000" dirty="0" smtClean="0"/>
            </a:br>
            <a:r>
              <a:rPr lang="nb-NO" sz="2000" dirty="0" smtClean="0"/>
              <a:t>utgangspunkt i de tre store områdene som skolen skal lede og drive </a:t>
            </a:r>
          </a:p>
        </p:txBody>
      </p:sp>
      <p:sp>
        <p:nvSpPr>
          <p:cNvPr id="11267" name="Plassholder for innhold 11"/>
          <p:cNvSpPr>
            <a:spLocks noGrp="1"/>
          </p:cNvSpPr>
          <p:nvPr>
            <p:ph idx="4294967295"/>
          </p:nvPr>
        </p:nvSpPr>
        <p:spPr>
          <a:xfrm>
            <a:off x="4533900" y="1628775"/>
            <a:ext cx="4286250" cy="2549525"/>
          </a:xfrm>
        </p:spPr>
        <p:txBody>
          <a:bodyPr/>
          <a:lstStyle/>
          <a:p>
            <a:pPr eaLnBrk="1" hangingPunct="1"/>
            <a:r>
              <a:rPr lang="nb-NO" sz="1200" dirty="0" smtClean="0"/>
              <a:t>Det anbefales egen leder med ansvar for pedagogiske støtteoppgaver fordi disse utgjør en betydelig del av skolens virksomhet</a:t>
            </a:r>
          </a:p>
          <a:p>
            <a:pPr eaLnBrk="1" hangingPunct="1"/>
            <a:r>
              <a:rPr lang="nb-NO" sz="1200" dirty="0" smtClean="0"/>
              <a:t>Det forutsettes et nært samarbeid med avdelingsledere</a:t>
            </a:r>
          </a:p>
          <a:p>
            <a:pPr eaLnBrk="1" hangingPunct="1"/>
            <a:r>
              <a:rPr lang="nb-NO" sz="1200" dirty="0" smtClean="0"/>
              <a:t>Oppgavene kan delegeres til personer med pedagogisk kompetanse, f.eks.  med støtte fra administrasjonsavdelingen</a:t>
            </a:r>
          </a:p>
          <a:p>
            <a:pPr eaLnBrk="1" hangingPunct="1"/>
            <a:r>
              <a:rPr lang="nb-NO" sz="1200" dirty="0" smtClean="0"/>
              <a:t>For mindre skoler kan det være hensiktsmessig å legge ansvaret for pedagogiske støtteoppgaver til avdelingsledere evt. assisterende rektor</a:t>
            </a:r>
            <a:endParaRPr lang="nb-NO" sz="900" dirty="0" smtClean="0"/>
          </a:p>
        </p:txBody>
      </p:sp>
      <p:sp>
        <p:nvSpPr>
          <p:cNvPr id="4" name="Plassholder for bunntekst 3"/>
          <p:cNvSpPr txBox="1">
            <a:spLocks noGrp="1"/>
          </p:cNvSpPr>
          <p:nvPr/>
        </p:nvSpPr>
        <p:spPr>
          <a:xfrm>
            <a:off x="0" y="0"/>
            <a:ext cx="0" cy="0"/>
          </a:xfrm>
          <a:prstGeom prst="rect">
            <a:avLst/>
          </a:prstGeom>
          <a:noFill/>
        </p:spPr>
        <p:txBody>
          <a:bodyPr anchor="ctr"/>
          <a:lstStyle/>
          <a:p>
            <a:pPr algn="ctr" fontAlgn="auto">
              <a:spcBef>
                <a:spcPts val="0"/>
              </a:spcBef>
              <a:spcAft>
                <a:spcPts val="0"/>
              </a:spcAft>
              <a:defRPr/>
            </a:pPr>
            <a:endParaRPr lang="nb-NO" sz="1200" dirty="0">
              <a:solidFill>
                <a:schemeClr val="tx1">
                  <a:tint val="75000"/>
                </a:schemeClr>
              </a:solidFill>
              <a:latin typeface="+mn-lt"/>
            </a:endParaRPr>
          </a:p>
        </p:txBody>
      </p:sp>
      <p:graphicFrame>
        <p:nvGraphicFramePr>
          <p:cNvPr id="10" name="Diagram 9"/>
          <p:cNvGraphicFramePr/>
          <p:nvPr/>
        </p:nvGraphicFramePr>
        <p:xfrm>
          <a:off x="-540568" y="1124744"/>
          <a:ext cx="5038017" cy="44704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270" name="TekstSylinder 20"/>
          <p:cNvSpPr txBox="1">
            <a:spLocks noChangeArrowheads="1"/>
          </p:cNvSpPr>
          <p:nvPr/>
        </p:nvSpPr>
        <p:spPr bwMode="auto">
          <a:xfrm>
            <a:off x="382588" y="1373188"/>
            <a:ext cx="337820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000" b="1" dirty="0">
                <a:latin typeface="Calibri" pitchFamily="34" charset="0"/>
              </a:rPr>
              <a:t>MODELLEN ER ET UTGANGSPUNKT FOR </a:t>
            </a:r>
          </a:p>
          <a:p>
            <a:pPr eaLnBrk="1" hangingPunct="1"/>
            <a:r>
              <a:rPr lang="nb-NO" sz="1000" b="1" dirty="0">
                <a:latin typeface="Calibri" pitchFamily="34" charset="0"/>
              </a:rPr>
              <a:t>SKOLENES VURDERING AV EGEN ORGANISASJON</a:t>
            </a:r>
          </a:p>
        </p:txBody>
      </p:sp>
      <p:sp>
        <p:nvSpPr>
          <p:cNvPr id="11271" name="TekstSylinder 8"/>
          <p:cNvSpPr txBox="1">
            <a:spLocks noChangeArrowheads="1"/>
          </p:cNvSpPr>
          <p:nvPr/>
        </p:nvSpPr>
        <p:spPr bwMode="auto">
          <a:xfrm>
            <a:off x="683568" y="476672"/>
            <a:ext cx="5879157"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000" b="1" dirty="0">
                <a:latin typeface="Calibri" pitchFamily="34" charset="0"/>
              </a:rPr>
              <a:t>LEDER PEDAGOGISK STØTTE*</a:t>
            </a:r>
          </a:p>
        </p:txBody>
      </p:sp>
      <p:sp>
        <p:nvSpPr>
          <p:cNvPr id="11272" name="Plassholder for innhold 11"/>
          <p:cNvSpPr txBox="1">
            <a:spLocks/>
          </p:cNvSpPr>
          <p:nvPr/>
        </p:nvSpPr>
        <p:spPr bwMode="auto">
          <a:xfrm>
            <a:off x="4533900" y="3716338"/>
            <a:ext cx="4286250" cy="81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307975" indent="-307975"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00"/>
              </a:spcBef>
              <a:buFont typeface="Arial" charset="0"/>
              <a:buChar char="•"/>
            </a:pPr>
            <a:r>
              <a:rPr lang="nb-NO" sz="1200">
                <a:latin typeface="Calibri" pitchFamily="34" charset="0"/>
              </a:rPr>
              <a:t>Antall avdelingsledere avhenger av skolens størrelse</a:t>
            </a:r>
          </a:p>
          <a:p>
            <a:pPr eaLnBrk="1" hangingPunct="1">
              <a:spcBef>
                <a:spcPts val="100"/>
              </a:spcBef>
              <a:buFont typeface="Arial" charset="0"/>
              <a:buChar char="•"/>
            </a:pPr>
            <a:r>
              <a:rPr lang="nb-NO" sz="1200">
                <a:latin typeface="Calibri" pitchFamily="34" charset="0"/>
              </a:rPr>
              <a:t>For store skoler kan det være aktuelt å organisere avdelingsledere i to nivåer for å unngå for store ledergrupper</a:t>
            </a:r>
          </a:p>
          <a:p>
            <a:pPr eaLnBrk="1" hangingPunct="1">
              <a:spcBef>
                <a:spcPts val="100"/>
              </a:spcBef>
              <a:buFont typeface="Arial" charset="0"/>
              <a:buChar char="•"/>
            </a:pPr>
            <a:endParaRPr lang="nb-NO" sz="900">
              <a:latin typeface="Calibri" pitchFamily="34" charset="0"/>
            </a:endParaRPr>
          </a:p>
        </p:txBody>
      </p:sp>
      <p:sp>
        <p:nvSpPr>
          <p:cNvPr id="11273" name="TekstSylinder 13"/>
          <p:cNvSpPr txBox="1">
            <a:spLocks noChangeArrowheads="1"/>
          </p:cNvSpPr>
          <p:nvPr/>
        </p:nvSpPr>
        <p:spPr bwMode="auto">
          <a:xfrm>
            <a:off x="4416425" y="3513138"/>
            <a:ext cx="1450975"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000" b="1">
                <a:latin typeface="Calibri" pitchFamily="34" charset="0"/>
              </a:rPr>
              <a:t>AVDELINGSLEDERE</a:t>
            </a:r>
          </a:p>
        </p:txBody>
      </p:sp>
      <p:sp>
        <p:nvSpPr>
          <p:cNvPr id="11274" name="Plassholder for innhold 11"/>
          <p:cNvSpPr txBox="1">
            <a:spLocks/>
          </p:cNvSpPr>
          <p:nvPr/>
        </p:nvSpPr>
        <p:spPr bwMode="auto">
          <a:xfrm>
            <a:off x="4533900" y="4705350"/>
            <a:ext cx="4286250" cy="811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307975" indent="-307975"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00"/>
              </a:spcBef>
              <a:buFont typeface="Arial" charset="0"/>
              <a:buChar char="•"/>
            </a:pPr>
            <a:r>
              <a:rPr lang="nb-NO" sz="1200">
                <a:latin typeface="Calibri" pitchFamily="34" charset="0"/>
              </a:rPr>
              <a:t>Administrasjonsleder har ansvar for administrasjons- og driftsoppgaver</a:t>
            </a:r>
          </a:p>
          <a:p>
            <a:pPr eaLnBrk="1" hangingPunct="1">
              <a:spcBef>
                <a:spcPts val="100"/>
              </a:spcBef>
              <a:buFont typeface="Arial" charset="0"/>
              <a:buChar char="•"/>
            </a:pPr>
            <a:r>
              <a:rPr lang="nb-NO" sz="1200">
                <a:latin typeface="Calibri" pitchFamily="34" charset="0"/>
              </a:rPr>
              <a:t>Administrasjonsavdelingens størrelse avhenger av skolens størrelse og kompleksitet</a:t>
            </a:r>
          </a:p>
          <a:p>
            <a:pPr eaLnBrk="1" hangingPunct="1">
              <a:spcBef>
                <a:spcPts val="100"/>
              </a:spcBef>
              <a:buFont typeface="Arial" charset="0"/>
              <a:buChar char="•"/>
            </a:pPr>
            <a:endParaRPr lang="nb-NO" sz="900">
              <a:latin typeface="Calibri" pitchFamily="34" charset="0"/>
            </a:endParaRPr>
          </a:p>
        </p:txBody>
      </p:sp>
      <p:sp>
        <p:nvSpPr>
          <p:cNvPr id="11275" name="TekstSylinder 15"/>
          <p:cNvSpPr txBox="1">
            <a:spLocks noChangeArrowheads="1"/>
          </p:cNvSpPr>
          <p:nvPr/>
        </p:nvSpPr>
        <p:spPr bwMode="auto">
          <a:xfrm>
            <a:off x="4416425" y="4500563"/>
            <a:ext cx="1857375"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000" b="1">
                <a:latin typeface="Calibri" pitchFamily="34" charset="0"/>
              </a:rPr>
              <a:t>ADMINISTRASJONSLEDER</a:t>
            </a:r>
          </a:p>
        </p:txBody>
      </p:sp>
      <p:sp>
        <p:nvSpPr>
          <p:cNvPr id="11276" name="Plassholder for innhold 11"/>
          <p:cNvSpPr txBox="1">
            <a:spLocks/>
          </p:cNvSpPr>
          <p:nvPr/>
        </p:nvSpPr>
        <p:spPr bwMode="auto">
          <a:xfrm>
            <a:off x="4533900" y="5713413"/>
            <a:ext cx="4286250" cy="811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307975" indent="-307975"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00"/>
              </a:spcBef>
              <a:buFont typeface="Arial" charset="0"/>
              <a:buChar char="•"/>
            </a:pPr>
            <a:r>
              <a:rPr lang="nb-NO" sz="1200">
                <a:latin typeface="Calibri" pitchFamily="34" charset="0"/>
              </a:rPr>
              <a:t>Assisterende rektor bør ha et ansvarsområde som gjør det mulig å ivareta rollen som rektors stedfortreder</a:t>
            </a:r>
          </a:p>
          <a:p>
            <a:pPr eaLnBrk="1" hangingPunct="1">
              <a:spcBef>
                <a:spcPts val="100"/>
              </a:spcBef>
              <a:buFont typeface="Arial" charset="0"/>
              <a:buChar char="•"/>
            </a:pPr>
            <a:r>
              <a:rPr lang="nb-NO" sz="1200">
                <a:latin typeface="Calibri" pitchFamily="34" charset="0"/>
              </a:rPr>
              <a:t>Kan ha pedagogiske støtteoppgaver   </a:t>
            </a:r>
            <a:endParaRPr lang="nb-NO" sz="900">
              <a:latin typeface="Calibri" pitchFamily="34" charset="0"/>
            </a:endParaRPr>
          </a:p>
        </p:txBody>
      </p:sp>
      <p:sp>
        <p:nvSpPr>
          <p:cNvPr id="11277" name="TekstSylinder 17"/>
          <p:cNvSpPr txBox="1">
            <a:spLocks noChangeArrowheads="1"/>
          </p:cNvSpPr>
          <p:nvPr/>
        </p:nvSpPr>
        <p:spPr bwMode="auto">
          <a:xfrm>
            <a:off x="4416425" y="5508625"/>
            <a:ext cx="1757363"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000" b="1">
                <a:latin typeface="Calibri" pitchFamily="34" charset="0"/>
              </a:rPr>
              <a:t>ASSISTERENDE REKTOR</a:t>
            </a:r>
          </a:p>
        </p:txBody>
      </p:sp>
      <p:sp>
        <p:nvSpPr>
          <p:cNvPr id="11278" name="TekstSylinder 1"/>
          <p:cNvSpPr txBox="1">
            <a:spLocks noChangeArrowheads="1"/>
          </p:cNvSpPr>
          <p:nvPr/>
        </p:nvSpPr>
        <p:spPr bwMode="auto">
          <a:xfrm>
            <a:off x="136525" y="6308725"/>
            <a:ext cx="4435475"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900">
                <a:latin typeface="Calibri" pitchFamily="34" charset="0"/>
              </a:rPr>
              <a:t>* Denne stillingen har i dag ulike betegnelser; studieleder, studieinspektør etc.</a:t>
            </a:r>
          </a:p>
        </p:txBody>
      </p:sp>
    </p:spTree>
    <p:extLst>
      <p:ext uri="{BB962C8B-B14F-4D97-AF65-F5344CB8AC3E}">
        <p14:creationId xmlns:p14="http://schemas.microsoft.com/office/powerpoint/2010/main" xmlns="" val="1676588165"/>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2"/>
          <p:cNvGraphicFramePr>
            <a:graphicFrameLocks noChangeAspect="1"/>
          </p:cNvGraphicFramePr>
          <p:nvPr/>
        </p:nvGraphicFramePr>
        <p:xfrm>
          <a:off x="0" y="0"/>
          <a:ext cx="158750" cy="158750"/>
        </p:xfrm>
        <a:graphic>
          <a:graphicData uri="http://schemas.openxmlformats.org/presentationml/2006/ole">
            <p:oleObj spid="_x0000_s4106" name="think-cell Slide" r:id="rId7" imgW="360" imgH="360" progId="">
              <p:embed/>
            </p:oleObj>
          </a:graphicData>
        </a:graphic>
      </p:graphicFrame>
      <p:sp>
        <p:nvSpPr>
          <p:cNvPr id="7171" name="Tittel 14"/>
          <p:cNvSpPr>
            <a:spLocks noGrp="1"/>
          </p:cNvSpPr>
          <p:nvPr>
            <p:ph type="title" idx="4294967295"/>
          </p:nvPr>
        </p:nvSpPr>
        <p:spPr>
          <a:xfrm>
            <a:off x="395288" y="815975"/>
            <a:ext cx="8353425" cy="512763"/>
          </a:xfrm>
        </p:spPr>
        <p:txBody>
          <a:bodyPr/>
          <a:lstStyle/>
          <a:p>
            <a:pPr eaLnBrk="1" hangingPunct="1"/>
            <a:r>
              <a:rPr lang="nb-NO" sz="2400" dirty="0" smtClean="0"/>
              <a:t>Kartleggingen har vist at skolene i det videre arbeidet </a:t>
            </a:r>
            <a:br>
              <a:rPr lang="nb-NO" sz="2400" dirty="0" smtClean="0"/>
            </a:br>
            <a:r>
              <a:rPr lang="nb-NO" sz="2400" dirty="0" smtClean="0"/>
              <a:t>må klargjøre om de er hensiktsmessig organisert for å ivareta </a:t>
            </a:r>
            <a:br>
              <a:rPr lang="nb-NO" sz="2400" dirty="0" smtClean="0"/>
            </a:br>
            <a:r>
              <a:rPr lang="nb-NO" sz="2400" dirty="0" smtClean="0"/>
              <a:t>de tre store oppgaveområdene</a:t>
            </a:r>
            <a:r>
              <a:rPr lang="nb-NO" sz="2800" dirty="0" smtClean="0"/>
              <a:t/>
            </a:r>
            <a:br>
              <a:rPr lang="nb-NO" sz="2800" dirty="0" smtClean="0"/>
            </a:br>
            <a:endParaRPr lang="nb-NO" sz="2800" dirty="0" smtClean="0"/>
          </a:p>
        </p:txBody>
      </p:sp>
      <p:sp>
        <p:nvSpPr>
          <p:cNvPr id="7" name="Plassholder for bunntekst 6"/>
          <p:cNvSpPr txBox="1">
            <a:spLocks noGrp="1"/>
          </p:cNvSpPr>
          <p:nvPr>
            <p:custDataLst>
              <p:tags r:id="rId2"/>
            </p:custDataLst>
          </p:nvPr>
        </p:nvSpPr>
        <p:spPr>
          <a:xfrm>
            <a:off x="0" y="0"/>
            <a:ext cx="0" cy="0"/>
          </a:xfrm>
          <a:prstGeom prst="rect">
            <a:avLst/>
          </a:prstGeom>
          <a:noFill/>
        </p:spPr>
        <p:txBody>
          <a:bodyPr anchor="ctr"/>
          <a:lstStyle/>
          <a:p>
            <a:pPr algn="ctr" fontAlgn="auto">
              <a:spcBef>
                <a:spcPts val="0"/>
              </a:spcBef>
              <a:spcAft>
                <a:spcPts val="0"/>
              </a:spcAft>
              <a:defRPr/>
            </a:pPr>
            <a:endParaRPr lang="nb-NO" sz="1200" dirty="0">
              <a:solidFill>
                <a:schemeClr val="tx1">
                  <a:tint val="75000"/>
                </a:schemeClr>
              </a:solidFill>
              <a:latin typeface="+mn-lt"/>
            </a:endParaRPr>
          </a:p>
        </p:txBody>
      </p:sp>
      <p:sp>
        <p:nvSpPr>
          <p:cNvPr id="8" name="Ellipse 7"/>
          <p:cNvSpPr/>
          <p:nvPr>
            <p:custDataLst>
              <p:tags r:id="rId3"/>
            </p:custDataLst>
          </p:nvPr>
        </p:nvSpPr>
        <p:spPr>
          <a:xfrm>
            <a:off x="2987675" y="3009900"/>
            <a:ext cx="3009900" cy="3398838"/>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1200" b="1" dirty="0">
                <a:solidFill>
                  <a:schemeClr val="tx1"/>
                </a:solidFill>
              </a:rPr>
              <a:t>PEDAGOGISK KJERNEVIRKSOMHET</a:t>
            </a:r>
          </a:p>
          <a:p>
            <a:pPr algn="ctr" fontAlgn="auto">
              <a:spcBef>
                <a:spcPts val="0"/>
              </a:spcBef>
              <a:spcAft>
                <a:spcPts val="0"/>
              </a:spcAft>
              <a:defRPr/>
            </a:pPr>
            <a:endParaRPr lang="nb-NO" sz="1200" dirty="0">
              <a:solidFill>
                <a:schemeClr val="tx1"/>
              </a:solidFill>
            </a:endParaRPr>
          </a:p>
          <a:p>
            <a:pPr algn="ctr" fontAlgn="auto">
              <a:spcBef>
                <a:spcPts val="0"/>
              </a:spcBef>
              <a:spcAft>
                <a:spcPts val="0"/>
              </a:spcAft>
              <a:defRPr/>
            </a:pPr>
            <a:r>
              <a:rPr lang="nb-NO" sz="1200" dirty="0">
                <a:solidFill>
                  <a:schemeClr val="tx1"/>
                </a:solidFill>
              </a:rPr>
              <a:t>Undervisning</a:t>
            </a:r>
          </a:p>
          <a:p>
            <a:pPr algn="ctr" fontAlgn="auto">
              <a:spcBef>
                <a:spcPts val="0"/>
              </a:spcBef>
              <a:spcAft>
                <a:spcPts val="0"/>
              </a:spcAft>
              <a:defRPr/>
            </a:pPr>
            <a:r>
              <a:rPr lang="nb-NO" sz="1200" dirty="0">
                <a:solidFill>
                  <a:schemeClr val="tx1"/>
                </a:solidFill>
              </a:rPr>
              <a:t>Fagutvikling</a:t>
            </a:r>
          </a:p>
          <a:p>
            <a:pPr algn="ctr" fontAlgn="auto">
              <a:spcBef>
                <a:spcPts val="0"/>
              </a:spcBef>
              <a:spcAft>
                <a:spcPts val="0"/>
              </a:spcAft>
              <a:defRPr/>
            </a:pPr>
            <a:r>
              <a:rPr lang="nb-NO" sz="1200" dirty="0">
                <a:solidFill>
                  <a:schemeClr val="tx1"/>
                </a:solidFill>
              </a:rPr>
              <a:t>Faglig samarbeid</a:t>
            </a:r>
          </a:p>
          <a:p>
            <a:pPr algn="ctr" fontAlgn="auto">
              <a:spcBef>
                <a:spcPts val="0"/>
              </a:spcBef>
              <a:spcAft>
                <a:spcPts val="0"/>
              </a:spcAft>
              <a:defRPr/>
            </a:pPr>
            <a:r>
              <a:rPr lang="nb-NO" sz="1200" dirty="0">
                <a:solidFill>
                  <a:schemeClr val="tx1"/>
                </a:solidFill>
              </a:rPr>
              <a:t>Pedagogiske metoder</a:t>
            </a:r>
          </a:p>
          <a:p>
            <a:pPr algn="ctr" fontAlgn="auto">
              <a:spcBef>
                <a:spcPts val="0"/>
              </a:spcBef>
              <a:spcAft>
                <a:spcPts val="0"/>
              </a:spcAft>
              <a:defRPr/>
            </a:pPr>
            <a:r>
              <a:rPr lang="nb-NO" sz="1200" dirty="0">
                <a:solidFill>
                  <a:schemeClr val="tx1"/>
                </a:solidFill>
              </a:rPr>
              <a:t>Elevmedvirkning</a:t>
            </a:r>
          </a:p>
          <a:p>
            <a:pPr algn="ctr" fontAlgn="auto">
              <a:spcBef>
                <a:spcPts val="0"/>
              </a:spcBef>
              <a:spcAft>
                <a:spcPts val="0"/>
              </a:spcAft>
              <a:defRPr/>
            </a:pPr>
            <a:r>
              <a:rPr lang="nb-NO" sz="1200" dirty="0">
                <a:solidFill>
                  <a:schemeClr val="tx1"/>
                </a:solidFill>
              </a:rPr>
              <a:t>Elevvurdering</a:t>
            </a:r>
          </a:p>
          <a:p>
            <a:pPr algn="ctr" fontAlgn="auto">
              <a:spcBef>
                <a:spcPts val="0"/>
              </a:spcBef>
              <a:spcAft>
                <a:spcPts val="0"/>
              </a:spcAft>
              <a:defRPr/>
            </a:pPr>
            <a:r>
              <a:rPr lang="nb-NO" sz="1200" dirty="0">
                <a:solidFill>
                  <a:schemeClr val="tx1"/>
                </a:solidFill>
              </a:rPr>
              <a:t>Elevsaker</a:t>
            </a:r>
          </a:p>
          <a:p>
            <a:pPr algn="ctr" fontAlgn="auto">
              <a:spcBef>
                <a:spcPts val="0"/>
              </a:spcBef>
              <a:spcAft>
                <a:spcPts val="0"/>
              </a:spcAft>
              <a:defRPr/>
            </a:pPr>
            <a:r>
              <a:rPr lang="nb-NO" sz="1200" dirty="0">
                <a:solidFill>
                  <a:schemeClr val="tx1"/>
                </a:solidFill>
              </a:rPr>
              <a:t>Kompetanseutvikling lærere</a:t>
            </a:r>
          </a:p>
          <a:p>
            <a:pPr algn="ctr" fontAlgn="auto">
              <a:spcBef>
                <a:spcPts val="0"/>
              </a:spcBef>
              <a:spcAft>
                <a:spcPts val="0"/>
              </a:spcAft>
              <a:defRPr/>
            </a:pPr>
            <a:r>
              <a:rPr lang="nb-NO" sz="1200" dirty="0">
                <a:solidFill>
                  <a:schemeClr val="tx1"/>
                </a:solidFill>
              </a:rPr>
              <a:t>Samarbeid skole/hjem</a:t>
            </a:r>
          </a:p>
          <a:p>
            <a:pPr algn="ctr" fontAlgn="auto">
              <a:spcBef>
                <a:spcPts val="0"/>
              </a:spcBef>
              <a:spcAft>
                <a:spcPts val="0"/>
              </a:spcAft>
              <a:defRPr/>
            </a:pPr>
            <a:endParaRPr lang="nb-NO" sz="1200" dirty="0">
              <a:solidFill>
                <a:schemeClr val="tx1"/>
              </a:solidFill>
            </a:endParaRPr>
          </a:p>
        </p:txBody>
      </p:sp>
      <p:sp>
        <p:nvSpPr>
          <p:cNvPr id="10" name="Ellipse 9"/>
          <p:cNvSpPr/>
          <p:nvPr>
            <p:custDataLst>
              <p:tags r:id="rId4"/>
            </p:custDataLst>
          </p:nvPr>
        </p:nvSpPr>
        <p:spPr>
          <a:xfrm>
            <a:off x="5514975" y="2997200"/>
            <a:ext cx="3009900" cy="339725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1200" b="1" dirty="0">
                <a:solidFill>
                  <a:schemeClr val="tx1"/>
                </a:solidFill>
              </a:rPr>
              <a:t>ADMINISTRATIVE STØTTEOPPGAVER</a:t>
            </a:r>
          </a:p>
          <a:p>
            <a:pPr algn="ctr" fontAlgn="auto">
              <a:spcBef>
                <a:spcPts val="0"/>
              </a:spcBef>
              <a:spcAft>
                <a:spcPts val="0"/>
              </a:spcAft>
              <a:defRPr/>
            </a:pPr>
            <a:endParaRPr lang="nb-NO" sz="1200" dirty="0">
              <a:solidFill>
                <a:schemeClr val="tx1"/>
              </a:solidFill>
            </a:endParaRPr>
          </a:p>
          <a:p>
            <a:pPr algn="ctr" fontAlgn="auto">
              <a:spcBef>
                <a:spcPts val="0"/>
              </a:spcBef>
              <a:spcAft>
                <a:spcPts val="0"/>
              </a:spcAft>
              <a:defRPr/>
            </a:pPr>
            <a:r>
              <a:rPr lang="nb-NO" sz="1200" dirty="0">
                <a:solidFill>
                  <a:schemeClr val="tx1"/>
                </a:solidFill>
              </a:rPr>
              <a:t>Økonomi</a:t>
            </a:r>
          </a:p>
          <a:p>
            <a:pPr algn="ctr" fontAlgn="auto">
              <a:spcBef>
                <a:spcPts val="0"/>
              </a:spcBef>
              <a:spcAft>
                <a:spcPts val="0"/>
              </a:spcAft>
              <a:defRPr/>
            </a:pPr>
            <a:r>
              <a:rPr lang="nb-NO" sz="1200" dirty="0">
                <a:solidFill>
                  <a:schemeClr val="tx1"/>
                </a:solidFill>
              </a:rPr>
              <a:t>Rapportering</a:t>
            </a:r>
          </a:p>
          <a:p>
            <a:pPr algn="ctr" fontAlgn="auto">
              <a:spcBef>
                <a:spcPts val="0"/>
              </a:spcBef>
              <a:spcAft>
                <a:spcPts val="0"/>
              </a:spcAft>
              <a:defRPr/>
            </a:pPr>
            <a:r>
              <a:rPr lang="nb-NO" sz="1200" dirty="0">
                <a:solidFill>
                  <a:schemeClr val="tx1"/>
                </a:solidFill>
              </a:rPr>
              <a:t>Personalforvaltning/HMS</a:t>
            </a:r>
          </a:p>
          <a:p>
            <a:pPr algn="ctr" fontAlgn="auto">
              <a:spcBef>
                <a:spcPts val="0"/>
              </a:spcBef>
              <a:spcAft>
                <a:spcPts val="0"/>
              </a:spcAft>
              <a:defRPr/>
            </a:pPr>
            <a:r>
              <a:rPr lang="nb-NO" sz="1200" dirty="0">
                <a:solidFill>
                  <a:schemeClr val="tx1"/>
                </a:solidFill>
              </a:rPr>
              <a:t>Innkjøp</a:t>
            </a:r>
          </a:p>
          <a:p>
            <a:pPr algn="ctr" fontAlgn="auto">
              <a:spcBef>
                <a:spcPts val="0"/>
              </a:spcBef>
              <a:spcAft>
                <a:spcPts val="0"/>
              </a:spcAft>
              <a:defRPr/>
            </a:pPr>
            <a:r>
              <a:rPr lang="nb-NO" sz="1200" dirty="0">
                <a:solidFill>
                  <a:schemeClr val="tx1"/>
                </a:solidFill>
              </a:rPr>
              <a:t>Drift og vedlikehold/renhold</a:t>
            </a:r>
          </a:p>
          <a:p>
            <a:pPr algn="ctr" fontAlgn="auto">
              <a:spcBef>
                <a:spcPts val="0"/>
              </a:spcBef>
              <a:spcAft>
                <a:spcPts val="0"/>
              </a:spcAft>
              <a:defRPr/>
            </a:pPr>
            <a:r>
              <a:rPr lang="nb-NO" sz="1200" dirty="0">
                <a:solidFill>
                  <a:schemeClr val="tx1"/>
                </a:solidFill>
              </a:rPr>
              <a:t>Dokumentasjon og arkiv</a:t>
            </a:r>
          </a:p>
          <a:p>
            <a:pPr algn="ctr" fontAlgn="auto">
              <a:spcBef>
                <a:spcPts val="0"/>
              </a:spcBef>
              <a:spcAft>
                <a:spcPts val="0"/>
              </a:spcAft>
              <a:defRPr/>
            </a:pPr>
            <a:r>
              <a:rPr lang="nb-NO" sz="1200" dirty="0">
                <a:solidFill>
                  <a:schemeClr val="tx1"/>
                </a:solidFill>
              </a:rPr>
              <a:t>Administrasjon</a:t>
            </a:r>
          </a:p>
          <a:p>
            <a:pPr algn="ctr" fontAlgn="auto">
              <a:spcBef>
                <a:spcPts val="0"/>
              </a:spcBef>
              <a:spcAft>
                <a:spcPts val="0"/>
              </a:spcAft>
              <a:defRPr/>
            </a:pPr>
            <a:r>
              <a:rPr lang="nb-NO" sz="1200" dirty="0">
                <a:solidFill>
                  <a:schemeClr val="tx1"/>
                </a:solidFill>
              </a:rPr>
              <a:t>IKT</a:t>
            </a:r>
          </a:p>
          <a:p>
            <a:pPr algn="ctr" fontAlgn="auto">
              <a:spcBef>
                <a:spcPts val="0"/>
              </a:spcBef>
              <a:spcAft>
                <a:spcPts val="0"/>
              </a:spcAft>
              <a:defRPr/>
            </a:pPr>
            <a:r>
              <a:rPr lang="nb-NO" sz="1200" dirty="0">
                <a:solidFill>
                  <a:schemeClr val="tx1"/>
                </a:solidFill>
              </a:rPr>
              <a:t>Informasjon</a:t>
            </a:r>
          </a:p>
          <a:p>
            <a:pPr algn="ctr" fontAlgn="auto">
              <a:spcBef>
                <a:spcPts val="0"/>
              </a:spcBef>
              <a:spcAft>
                <a:spcPts val="0"/>
              </a:spcAft>
              <a:defRPr/>
            </a:pPr>
            <a:r>
              <a:rPr lang="nb-NO" sz="1200" dirty="0">
                <a:solidFill>
                  <a:schemeClr val="tx1"/>
                </a:solidFill>
              </a:rPr>
              <a:t>Markedsføring</a:t>
            </a:r>
          </a:p>
          <a:p>
            <a:pPr algn="ctr" fontAlgn="auto">
              <a:spcBef>
                <a:spcPts val="0"/>
              </a:spcBef>
              <a:spcAft>
                <a:spcPts val="0"/>
              </a:spcAft>
              <a:defRPr/>
            </a:pPr>
            <a:endParaRPr lang="nb-NO" sz="1200" dirty="0">
              <a:solidFill>
                <a:schemeClr val="tx1"/>
              </a:solidFill>
            </a:endParaRPr>
          </a:p>
        </p:txBody>
      </p:sp>
      <p:sp>
        <p:nvSpPr>
          <p:cNvPr id="9" name="Ellipse 8"/>
          <p:cNvSpPr/>
          <p:nvPr>
            <p:custDataLst>
              <p:tags r:id="rId5"/>
            </p:custDataLst>
          </p:nvPr>
        </p:nvSpPr>
        <p:spPr>
          <a:xfrm>
            <a:off x="454025" y="3009900"/>
            <a:ext cx="3009900" cy="3398838"/>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1200" b="1" dirty="0">
                <a:solidFill>
                  <a:schemeClr val="tx1"/>
                </a:solidFill>
              </a:rPr>
              <a:t>PEDAGOGISKE </a:t>
            </a:r>
          </a:p>
          <a:p>
            <a:pPr algn="ctr" fontAlgn="auto">
              <a:spcBef>
                <a:spcPts val="0"/>
              </a:spcBef>
              <a:spcAft>
                <a:spcPts val="0"/>
              </a:spcAft>
              <a:defRPr/>
            </a:pPr>
            <a:r>
              <a:rPr lang="nb-NO" sz="1200" b="1" dirty="0">
                <a:solidFill>
                  <a:schemeClr val="tx1"/>
                </a:solidFill>
              </a:rPr>
              <a:t>STØTTEOPPGAVER</a:t>
            </a:r>
            <a:r>
              <a:rPr lang="nb-NO" sz="1200" dirty="0">
                <a:solidFill>
                  <a:schemeClr val="tx1"/>
                </a:solidFill>
              </a:rPr>
              <a:t/>
            </a:r>
            <a:br>
              <a:rPr lang="nb-NO" sz="1200" dirty="0">
                <a:solidFill>
                  <a:schemeClr val="tx1"/>
                </a:solidFill>
              </a:rPr>
            </a:br>
            <a:endParaRPr lang="nb-NO" sz="1200" dirty="0">
              <a:solidFill>
                <a:schemeClr val="tx1"/>
              </a:solidFill>
            </a:endParaRPr>
          </a:p>
          <a:p>
            <a:pPr algn="ctr" fontAlgn="auto">
              <a:spcBef>
                <a:spcPts val="0"/>
              </a:spcBef>
              <a:spcAft>
                <a:spcPts val="0"/>
              </a:spcAft>
              <a:defRPr/>
            </a:pPr>
            <a:r>
              <a:rPr lang="nb-NO" sz="1200" dirty="0">
                <a:solidFill>
                  <a:schemeClr val="tx1"/>
                </a:solidFill>
              </a:rPr>
              <a:t>Eksamen</a:t>
            </a:r>
          </a:p>
          <a:p>
            <a:pPr algn="ctr" fontAlgn="auto">
              <a:spcBef>
                <a:spcPts val="0"/>
              </a:spcBef>
              <a:spcAft>
                <a:spcPts val="0"/>
              </a:spcAft>
              <a:defRPr/>
            </a:pPr>
            <a:r>
              <a:rPr lang="nb-NO" sz="1200" dirty="0">
                <a:solidFill>
                  <a:schemeClr val="tx1"/>
                </a:solidFill>
              </a:rPr>
              <a:t>Heldagsprøver</a:t>
            </a:r>
          </a:p>
          <a:p>
            <a:pPr algn="ctr" fontAlgn="auto">
              <a:spcBef>
                <a:spcPts val="0"/>
              </a:spcBef>
              <a:spcAft>
                <a:spcPts val="0"/>
              </a:spcAft>
              <a:defRPr/>
            </a:pPr>
            <a:r>
              <a:rPr lang="nb-NO" sz="1200" dirty="0">
                <a:solidFill>
                  <a:schemeClr val="tx1"/>
                </a:solidFill>
              </a:rPr>
              <a:t>Vitnemål</a:t>
            </a:r>
          </a:p>
          <a:p>
            <a:pPr algn="ctr" fontAlgn="auto">
              <a:spcBef>
                <a:spcPts val="0"/>
              </a:spcBef>
              <a:spcAft>
                <a:spcPts val="0"/>
              </a:spcAft>
              <a:defRPr/>
            </a:pPr>
            <a:r>
              <a:rPr lang="nb-NO" sz="1200" dirty="0">
                <a:solidFill>
                  <a:schemeClr val="tx1"/>
                </a:solidFill>
              </a:rPr>
              <a:t>Inntak</a:t>
            </a:r>
          </a:p>
          <a:p>
            <a:pPr algn="ctr" fontAlgn="auto">
              <a:spcBef>
                <a:spcPts val="0"/>
              </a:spcBef>
              <a:spcAft>
                <a:spcPts val="0"/>
              </a:spcAft>
              <a:defRPr/>
            </a:pPr>
            <a:r>
              <a:rPr lang="nb-NO" sz="1200" dirty="0">
                <a:solidFill>
                  <a:schemeClr val="tx1"/>
                </a:solidFill>
              </a:rPr>
              <a:t>Timeplan</a:t>
            </a:r>
          </a:p>
          <a:p>
            <a:pPr algn="ctr" fontAlgn="auto">
              <a:spcBef>
                <a:spcPts val="0"/>
              </a:spcBef>
              <a:spcAft>
                <a:spcPts val="0"/>
              </a:spcAft>
              <a:defRPr/>
            </a:pPr>
            <a:r>
              <a:rPr lang="nb-NO" sz="1200" dirty="0">
                <a:solidFill>
                  <a:schemeClr val="tx1"/>
                </a:solidFill>
              </a:rPr>
              <a:t>Fag og timefordeling</a:t>
            </a:r>
          </a:p>
          <a:p>
            <a:pPr algn="ctr" fontAlgn="auto">
              <a:spcBef>
                <a:spcPts val="0"/>
              </a:spcBef>
              <a:spcAft>
                <a:spcPts val="0"/>
              </a:spcAft>
              <a:defRPr/>
            </a:pPr>
            <a:r>
              <a:rPr lang="nb-NO" sz="1200" dirty="0">
                <a:solidFill>
                  <a:schemeClr val="tx1"/>
                </a:solidFill>
              </a:rPr>
              <a:t>Undersøkelser</a:t>
            </a:r>
          </a:p>
          <a:p>
            <a:pPr algn="ctr" fontAlgn="auto">
              <a:spcBef>
                <a:spcPts val="0"/>
              </a:spcBef>
              <a:spcAft>
                <a:spcPts val="0"/>
              </a:spcAft>
              <a:defRPr/>
            </a:pPr>
            <a:r>
              <a:rPr lang="nb-NO" sz="1200" dirty="0">
                <a:solidFill>
                  <a:schemeClr val="tx1"/>
                </a:solidFill>
              </a:rPr>
              <a:t>Elevsaker (vedtakssaker)</a:t>
            </a:r>
          </a:p>
          <a:p>
            <a:pPr algn="ctr" fontAlgn="auto">
              <a:spcBef>
                <a:spcPts val="0"/>
              </a:spcBef>
              <a:spcAft>
                <a:spcPts val="0"/>
              </a:spcAft>
              <a:defRPr/>
            </a:pPr>
            <a:endParaRPr lang="nb-NO" sz="1200" dirty="0">
              <a:solidFill>
                <a:schemeClr val="tx1"/>
              </a:solidFill>
            </a:endParaRPr>
          </a:p>
        </p:txBody>
      </p:sp>
      <p:sp>
        <p:nvSpPr>
          <p:cNvPr id="7176" name="TekstSylinder 11"/>
          <p:cNvSpPr txBox="1">
            <a:spLocks noChangeArrowheads="1"/>
          </p:cNvSpPr>
          <p:nvPr/>
        </p:nvSpPr>
        <p:spPr bwMode="auto">
          <a:xfrm>
            <a:off x="454025" y="1916832"/>
            <a:ext cx="7150100" cy="1169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400" dirty="0">
                <a:latin typeface="Calibri" pitchFamily="34" charset="0"/>
              </a:rPr>
              <a:t>For å øke kapasitet og kvalitet i ledelse av kjernevirksomheten må det vurderes hvordan</a:t>
            </a:r>
          </a:p>
          <a:p>
            <a:pPr eaLnBrk="1" hangingPunct="1"/>
            <a:r>
              <a:rPr lang="nb-NO" sz="1400" dirty="0">
                <a:latin typeface="Calibri" pitchFamily="34" charset="0"/>
              </a:rPr>
              <a:t>ansvarsområder kan rendyrkes og hvordan det kan sikres tilstrekkelig ledelsesressurs til </a:t>
            </a:r>
          </a:p>
          <a:p>
            <a:pPr eaLnBrk="1" hangingPunct="1"/>
            <a:r>
              <a:rPr lang="nb-NO" sz="1400" dirty="0">
                <a:latin typeface="Calibri" pitchFamily="34" charset="0"/>
              </a:rPr>
              <a:t>å fylle lederrollen.</a:t>
            </a:r>
          </a:p>
          <a:p>
            <a:pPr eaLnBrk="1" hangingPunct="1"/>
            <a:endParaRPr lang="nb-NO" sz="1400" dirty="0">
              <a:latin typeface="Calibri" pitchFamily="34" charset="0"/>
            </a:endParaRPr>
          </a:p>
          <a:p>
            <a:pPr eaLnBrk="1" hangingPunct="1"/>
            <a:endParaRPr lang="nb-NO" sz="1400" dirty="0">
              <a:latin typeface="Calibri" pitchFamily="34" charset="0"/>
            </a:endParaRPr>
          </a:p>
        </p:txBody>
      </p:sp>
      <p:sp>
        <p:nvSpPr>
          <p:cNvPr id="7177" name="TekstSylinder 13"/>
          <p:cNvSpPr txBox="1">
            <a:spLocks noChangeArrowheads="1"/>
          </p:cNvSpPr>
          <p:nvPr/>
        </p:nvSpPr>
        <p:spPr bwMode="auto">
          <a:xfrm>
            <a:off x="395288" y="2708275"/>
            <a:ext cx="4405312"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000" b="1">
                <a:latin typeface="Calibri" pitchFamily="34" charset="0"/>
              </a:rPr>
              <a:t>SKOLENES TRE STORE OPPGAVEOMRÅDER UNDERLAGT REKTOR</a:t>
            </a:r>
          </a:p>
        </p:txBody>
      </p:sp>
      <p:sp>
        <p:nvSpPr>
          <p:cNvPr id="7178" name="TekstSylinder 1"/>
          <p:cNvSpPr txBox="1">
            <a:spLocks noChangeArrowheads="1"/>
          </p:cNvSpPr>
          <p:nvPr/>
        </p:nvSpPr>
        <p:spPr bwMode="auto">
          <a:xfrm>
            <a:off x="395288" y="6438900"/>
            <a:ext cx="547211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900">
                <a:latin typeface="Calibri" pitchFamily="34" charset="0"/>
              </a:rPr>
              <a:t>Note: Oppgavene listet opp i sirklene, er ikke uttømmende</a:t>
            </a:r>
          </a:p>
        </p:txBody>
      </p:sp>
    </p:spTree>
    <p:extLst>
      <p:ext uri="{BB962C8B-B14F-4D97-AF65-F5344CB8AC3E}">
        <p14:creationId xmlns:p14="http://schemas.microsoft.com/office/powerpoint/2010/main" xmlns="" val="2277916266"/>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idx="4294967295"/>
          </p:nvPr>
        </p:nvSpPr>
        <p:spPr>
          <a:xfrm>
            <a:off x="467544" y="836613"/>
            <a:ext cx="8060506" cy="2808411"/>
          </a:xfrm>
        </p:spPr>
        <p:txBody>
          <a:bodyPr>
            <a:normAutofit fontScale="90000"/>
          </a:bodyPr>
          <a:lstStyle/>
          <a:p>
            <a:pPr algn="l" eaLnBrk="1" hangingPunct="1">
              <a:defRPr/>
            </a:pPr>
            <a:r>
              <a:rPr lang="nb-NO" sz="4000" dirty="0" smtClean="0"/>
              <a:t>                       </a:t>
            </a:r>
            <a:br>
              <a:rPr lang="nb-NO" sz="4000" dirty="0" smtClean="0"/>
            </a:br>
            <a:r>
              <a:rPr lang="nb-NO" sz="4000" dirty="0" smtClean="0"/>
              <a:t>3. Hvordan pålegger Akershus </a:t>
            </a:r>
            <a:br>
              <a:rPr lang="nb-NO" sz="4000" dirty="0" smtClean="0"/>
            </a:br>
            <a:r>
              <a:rPr lang="nb-NO" sz="4000" dirty="0" smtClean="0"/>
              <a:t>fylkeskommune skolene å følge </a:t>
            </a:r>
            <a:br>
              <a:rPr lang="nb-NO" sz="4000" dirty="0" smtClean="0"/>
            </a:br>
            <a:r>
              <a:rPr lang="nb-NO" sz="4000" dirty="0" smtClean="0"/>
              <a:t>opp rapporten </a:t>
            </a:r>
            <a:br>
              <a:rPr lang="nb-NO" sz="4000" dirty="0" smtClean="0"/>
            </a:br>
            <a:r>
              <a:rPr lang="nb-NO" sz="4000" dirty="0" smtClean="0"/>
              <a:t>«Mer tid til det som gjelder»?</a:t>
            </a:r>
          </a:p>
        </p:txBody>
      </p:sp>
    </p:spTree>
    <p:extLst>
      <p:ext uri="{BB962C8B-B14F-4D97-AF65-F5344CB8AC3E}">
        <p14:creationId xmlns:p14="http://schemas.microsoft.com/office/powerpoint/2010/main" xmlns="" val="1676888002"/>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tel 1"/>
          <p:cNvSpPr>
            <a:spLocks noGrp="1"/>
          </p:cNvSpPr>
          <p:nvPr>
            <p:ph type="title" idx="4294967295"/>
          </p:nvPr>
        </p:nvSpPr>
        <p:spPr>
          <a:xfrm>
            <a:off x="1475657" y="908720"/>
            <a:ext cx="6792044" cy="1224880"/>
          </a:xfrm>
        </p:spPr>
        <p:txBody>
          <a:bodyPr/>
          <a:lstStyle/>
          <a:p>
            <a:pPr eaLnBrk="1" hangingPunct="1"/>
            <a:r>
              <a:rPr lang="nb-NO" sz="2800" dirty="0" smtClean="0"/>
              <a:t>3A. Akershus fylkeskommunes styringssignaler </a:t>
            </a:r>
            <a:br>
              <a:rPr lang="nb-NO" sz="2800" dirty="0" smtClean="0"/>
            </a:br>
            <a:r>
              <a:rPr lang="nb-NO" sz="2800" dirty="0" smtClean="0"/>
              <a:t>til de videregående skolene i denne saken:</a:t>
            </a:r>
          </a:p>
        </p:txBody>
      </p:sp>
      <p:sp>
        <p:nvSpPr>
          <p:cNvPr id="13315" name="Plassholder for innhold 2"/>
          <p:cNvSpPr>
            <a:spLocks noGrp="1"/>
          </p:cNvSpPr>
          <p:nvPr>
            <p:ph idx="4294967295"/>
          </p:nvPr>
        </p:nvSpPr>
        <p:spPr/>
        <p:txBody>
          <a:bodyPr/>
          <a:lstStyle/>
          <a:p>
            <a:pPr eaLnBrk="1" hangingPunct="1">
              <a:lnSpc>
                <a:spcPct val="90000"/>
              </a:lnSpc>
            </a:pPr>
            <a:endParaRPr lang="nb-NO" sz="2400" dirty="0" smtClean="0"/>
          </a:p>
          <a:p>
            <a:pPr eaLnBrk="1" hangingPunct="1">
              <a:lnSpc>
                <a:spcPct val="90000"/>
              </a:lnSpc>
            </a:pPr>
            <a:endParaRPr lang="nb-NO" sz="2400" dirty="0" smtClean="0"/>
          </a:p>
          <a:p>
            <a:pPr eaLnBrk="1" hangingPunct="1">
              <a:lnSpc>
                <a:spcPct val="90000"/>
              </a:lnSpc>
            </a:pPr>
            <a:r>
              <a:rPr lang="nb-NO" sz="2400" dirty="0" smtClean="0"/>
              <a:t>Brev av 18.desember 2012 om oppfølging av rapporten</a:t>
            </a:r>
          </a:p>
          <a:p>
            <a:pPr eaLnBrk="1" hangingPunct="1">
              <a:lnSpc>
                <a:spcPct val="90000"/>
              </a:lnSpc>
            </a:pPr>
            <a:r>
              <a:rPr lang="nb-NO" sz="2400" dirty="0" smtClean="0"/>
              <a:t>Skolenes tildelingsbrev for 2013 inneholder punkt om oppfølging av rapporten</a:t>
            </a:r>
          </a:p>
          <a:p>
            <a:pPr eaLnBrk="1" hangingPunct="1">
              <a:lnSpc>
                <a:spcPct val="90000"/>
              </a:lnSpc>
            </a:pPr>
            <a:r>
              <a:rPr lang="nb-NO" sz="2400" dirty="0" smtClean="0"/>
              <a:t>Fylkesdirektørens mal for rapportering 2013 inneholder krav om oppfølging av rapporten</a:t>
            </a:r>
          </a:p>
          <a:p>
            <a:pPr eaLnBrk="1" hangingPunct="1">
              <a:lnSpc>
                <a:spcPct val="90000"/>
              </a:lnSpc>
            </a:pPr>
            <a:r>
              <a:rPr lang="nb-NO" sz="2400" dirty="0" smtClean="0"/>
              <a:t>Fylkesdirektørens årlige styringsdialog med hver enkelt skole inneholder et fast punkt om oppfølging av rapporten</a:t>
            </a:r>
          </a:p>
        </p:txBody>
      </p:sp>
    </p:spTree>
    <p:extLst>
      <p:ext uri="{BB962C8B-B14F-4D97-AF65-F5344CB8AC3E}">
        <p14:creationId xmlns:p14="http://schemas.microsoft.com/office/powerpoint/2010/main" xmlns="" val="3125107948"/>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tel 1"/>
          <p:cNvSpPr>
            <a:spLocks noGrp="1"/>
          </p:cNvSpPr>
          <p:nvPr>
            <p:ph type="title"/>
          </p:nvPr>
        </p:nvSpPr>
        <p:spPr/>
        <p:txBody>
          <a:bodyPr/>
          <a:lstStyle/>
          <a:p>
            <a:r>
              <a:rPr lang="nb-NO" sz="3600" dirty="0" smtClean="0"/>
              <a:t>3B. Økonomien </a:t>
            </a:r>
          </a:p>
        </p:txBody>
      </p:sp>
      <p:sp>
        <p:nvSpPr>
          <p:cNvPr id="14339" name="Plassholder for innhold 2"/>
          <p:cNvSpPr>
            <a:spLocks noGrp="1"/>
          </p:cNvSpPr>
          <p:nvPr>
            <p:ph idx="1"/>
          </p:nvPr>
        </p:nvSpPr>
        <p:spPr/>
        <p:txBody>
          <a:bodyPr/>
          <a:lstStyle/>
          <a:p>
            <a:r>
              <a:rPr lang="nb-NO" dirty="0" smtClean="0"/>
              <a:t>«Friske» midler»</a:t>
            </a:r>
          </a:p>
          <a:p>
            <a:pPr>
              <a:buFontTx/>
              <a:buNone/>
            </a:pPr>
            <a:endParaRPr lang="nb-NO" dirty="0" smtClean="0"/>
          </a:p>
          <a:p>
            <a:r>
              <a:rPr lang="nb-NO" dirty="0" smtClean="0"/>
              <a:t>«Kurerte midler»</a:t>
            </a:r>
          </a:p>
        </p:txBody>
      </p:sp>
    </p:spTree>
    <p:extLst>
      <p:ext uri="{BB962C8B-B14F-4D97-AF65-F5344CB8AC3E}">
        <p14:creationId xmlns:p14="http://schemas.microsoft.com/office/powerpoint/2010/main" xmlns="" val="4078678704"/>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tel 1"/>
          <p:cNvSpPr>
            <a:spLocks noGrp="1"/>
          </p:cNvSpPr>
          <p:nvPr>
            <p:ph type="title" idx="4294967295"/>
          </p:nvPr>
        </p:nvSpPr>
        <p:spPr>
          <a:xfrm>
            <a:off x="395537" y="404664"/>
            <a:ext cx="8208912" cy="1296144"/>
          </a:xfrm>
        </p:spPr>
        <p:txBody>
          <a:bodyPr/>
          <a:lstStyle/>
          <a:p>
            <a:pPr eaLnBrk="1" hangingPunct="1"/>
            <a:r>
              <a:rPr lang="nb-NO" sz="2800" dirty="0" smtClean="0"/>
              <a:t/>
            </a:r>
            <a:br>
              <a:rPr lang="nb-NO" sz="2800" dirty="0" smtClean="0"/>
            </a:br>
            <a:r>
              <a:rPr lang="nb-NO" sz="2800" dirty="0" smtClean="0"/>
              <a:t>3C. Oppsummering:</a:t>
            </a:r>
            <a:br>
              <a:rPr lang="nb-NO" sz="2800" dirty="0" smtClean="0"/>
            </a:br>
            <a:r>
              <a:rPr lang="nb-NO" sz="2800" dirty="0" smtClean="0"/>
              <a:t>Hva skal de videregående skolene i Akershus nå gjøre: </a:t>
            </a:r>
          </a:p>
        </p:txBody>
      </p:sp>
      <p:sp>
        <p:nvSpPr>
          <p:cNvPr id="3" name="Plassholder for innhold 2"/>
          <p:cNvSpPr>
            <a:spLocks noGrp="1"/>
          </p:cNvSpPr>
          <p:nvPr>
            <p:ph idx="4294967295"/>
          </p:nvPr>
        </p:nvSpPr>
        <p:spPr>
          <a:xfrm>
            <a:off x="539552" y="1988840"/>
            <a:ext cx="8147248" cy="4137323"/>
          </a:xfrm>
        </p:spPr>
        <p:txBody>
          <a:bodyPr>
            <a:normAutofit fontScale="92500"/>
          </a:bodyPr>
          <a:lstStyle/>
          <a:p>
            <a:pPr eaLnBrk="1" hangingPunct="1">
              <a:lnSpc>
                <a:spcPct val="80000"/>
              </a:lnSpc>
              <a:defRPr/>
            </a:pPr>
            <a:r>
              <a:rPr lang="nb-NO" sz="2400" dirty="0" smtClean="0"/>
              <a:t>Tilpasse sin organisasjon til de standarder som er foreslått i rapporten «Mer tid ---» innen skolestart 2014 – 2015</a:t>
            </a:r>
          </a:p>
          <a:p>
            <a:pPr eaLnBrk="1" hangingPunct="1">
              <a:lnSpc>
                <a:spcPct val="80000"/>
              </a:lnSpc>
              <a:defRPr/>
            </a:pPr>
            <a:endParaRPr lang="nb-NO" sz="2400" dirty="0" smtClean="0"/>
          </a:p>
          <a:p>
            <a:pPr eaLnBrk="1" hangingPunct="1">
              <a:lnSpc>
                <a:spcPct val="80000"/>
              </a:lnSpc>
              <a:defRPr/>
            </a:pPr>
            <a:r>
              <a:rPr lang="nb-NO" sz="2400" dirty="0" smtClean="0"/>
              <a:t>Dette innebærer:</a:t>
            </a:r>
          </a:p>
          <a:p>
            <a:pPr lvl="1" eaLnBrk="1" hangingPunct="1">
              <a:lnSpc>
                <a:spcPct val="80000"/>
              </a:lnSpc>
              <a:defRPr/>
            </a:pPr>
            <a:r>
              <a:rPr lang="nb-NO" sz="2000" dirty="0" smtClean="0"/>
              <a:t>Gjennomgang og strukturering av skoleledelsens arbeidsoppgaver (administrative støtteoppgaver, pedagogiske støtteoppgaver, pedagogisk kjernevirksomhet)</a:t>
            </a:r>
          </a:p>
          <a:p>
            <a:pPr lvl="1" eaLnBrk="1" hangingPunct="1">
              <a:lnSpc>
                <a:spcPct val="80000"/>
              </a:lnSpc>
              <a:defRPr/>
            </a:pPr>
            <a:r>
              <a:rPr lang="nb-NO" sz="2000" dirty="0" smtClean="0"/>
              <a:t>Benytte en «Akershus-modell» for organisering av ledelsen ved skolen (inklusiv ansvarlig for pedagogiske støtteoppgaver)</a:t>
            </a:r>
          </a:p>
          <a:p>
            <a:pPr lvl="1" eaLnBrk="1" hangingPunct="1">
              <a:lnSpc>
                <a:spcPct val="80000"/>
              </a:lnSpc>
              <a:defRPr/>
            </a:pPr>
            <a:r>
              <a:rPr lang="nb-NO" sz="2000" dirty="0" smtClean="0"/>
              <a:t>Tilsette kompetent administrativ leder og sørge for å ha en kompetent administrasjonsavdeling ( ivareta administrative støtteoppgave)</a:t>
            </a:r>
          </a:p>
          <a:p>
            <a:pPr lvl="1" eaLnBrk="1" hangingPunct="1">
              <a:lnSpc>
                <a:spcPct val="80000"/>
              </a:lnSpc>
              <a:defRPr/>
            </a:pPr>
            <a:r>
              <a:rPr lang="nb-NO" sz="2000" dirty="0" smtClean="0"/>
              <a:t>Tilsette avdelingsledere i 100% stilling med personalansvar for cirka 20 personer ( viktig for pedagogisk kjernevirksomhet)</a:t>
            </a:r>
          </a:p>
          <a:p>
            <a:pPr lvl="1" eaLnBrk="1" hangingPunct="1">
              <a:lnSpc>
                <a:spcPct val="80000"/>
              </a:lnSpc>
              <a:defRPr/>
            </a:pPr>
            <a:r>
              <a:rPr lang="nb-NO" sz="2000" dirty="0" smtClean="0"/>
              <a:t>Rapportere på fremdrift i arbeidet og på bruk av øremerkede midler               </a:t>
            </a:r>
          </a:p>
          <a:p>
            <a:pPr lvl="1" eaLnBrk="1" hangingPunct="1">
              <a:lnSpc>
                <a:spcPct val="80000"/>
              </a:lnSpc>
              <a:defRPr/>
            </a:pPr>
            <a:endParaRPr lang="nb-NO" sz="2000" dirty="0" smtClean="0"/>
          </a:p>
          <a:p>
            <a:pPr lvl="1" eaLnBrk="1" hangingPunct="1">
              <a:lnSpc>
                <a:spcPct val="80000"/>
              </a:lnSpc>
              <a:defRPr/>
            </a:pPr>
            <a:endParaRPr lang="nb-NO" sz="2000" dirty="0" smtClean="0"/>
          </a:p>
        </p:txBody>
      </p:sp>
    </p:spTree>
    <p:extLst>
      <p:ext uri="{BB962C8B-B14F-4D97-AF65-F5344CB8AC3E}">
        <p14:creationId xmlns:p14="http://schemas.microsoft.com/office/powerpoint/2010/main" xmlns="" val="3462769076"/>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idx="4294967295"/>
          </p:nvPr>
        </p:nvSpPr>
        <p:spPr>
          <a:xfrm>
            <a:off x="468313" y="620712"/>
            <a:ext cx="8208143" cy="1944191"/>
          </a:xfrm>
        </p:spPr>
        <p:txBody>
          <a:bodyPr>
            <a:normAutofit fontScale="90000"/>
          </a:bodyPr>
          <a:lstStyle/>
          <a:p>
            <a:pPr eaLnBrk="1" hangingPunct="1">
              <a:defRPr/>
            </a:pPr>
            <a:r>
              <a:rPr lang="nb-NO" sz="3200" dirty="0" smtClean="0"/>
              <a:t/>
            </a:r>
            <a:br>
              <a:rPr lang="nb-NO" sz="3200" dirty="0" smtClean="0"/>
            </a:br>
            <a:r>
              <a:rPr lang="nb-NO" sz="3200" dirty="0" smtClean="0"/>
              <a:t/>
            </a:r>
            <a:br>
              <a:rPr lang="nb-NO" sz="3200" dirty="0" smtClean="0"/>
            </a:br>
            <a:r>
              <a:rPr lang="nb-NO" sz="3200" dirty="0" smtClean="0"/>
              <a:t>4.Sett fra Akershus-skolenes side:</a:t>
            </a:r>
            <a:br>
              <a:rPr lang="nb-NO" sz="3200" dirty="0" smtClean="0"/>
            </a:br>
            <a:r>
              <a:rPr lang="nb-NO" sz="3200" dirty="0" smtClean="0"/>
              <a:t>Hvordan kan vi gå fram for å følge opp</a:t>
            </a:r>
            <a:br>
              <a:rPr lang="nb-NO" sz="3200" dirty="0" smtClean="0"/>
            </a:br>
            <a:r>
              <a:rPr lang="nb-NO" sz="3200" dirty="0" smtClean="0"/>
              <a:t> fylkeskommunens forventninger? </a:t>
            </a:r>
          </a:p>
        </p:txBody>
      </p:sp>
    </p:spTree>
    <p:extLst>
      <p:ext uri="{BB962C8B-B14F-4D97-AF65-F5344CB8AC3E}">
        <p14:creationId xmlns:p14="http://schemas.microsoft.com/office/powerpoint/2010/main" xmlns="" val="3461099792"/>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ctrTitle"/>
          </p:nvPr>
        </p:nvSpPr>
        <p:spPr>
          <a:xfrm>
            <a:off x="323850" y="1268760"/>
            <a:ext cx="8640763" cy="1366713"/>
          </a:xfrm>
        </p:spPr>
        <p:txBody>
          <a:bodyPr/>
          <a:lstStyle/>
          <a:p>
            <a:pPr algn="ctr" eaLnBrk="1" hangingPunct="1"/>
            <a:r>
              <a:rPr lang="nb-NO" sz="3200" b="1" dirty="0"/>
              <a:t>Oppfølging av undersøkelsen og </a:t>
            </a:r>
            <a:r>
              <a:rPr lang="nb-NO" sz="3200" b="1" dirty="0" smtClean="0"/>
              <a:t/>
            </a:r>
            <a:br>
              <a:rPr lang="nb-NO" sz="3200" b="1" dirty="0" smtClean="0"/>
            </a:br>
            <a:r>
              <a:rPr lang="nb-NO" sz="3200" b="1" dirty="0" smtClean="0"/>
              <a:t>pedagogisk </a:t>
            </a:r>
            <a:r>
              <a:rPr lang="nb-NO" sz="3200" b="1" dirty="0"/>
              <a:t>ledelse </a:t>
            </a:r>
            <a:r>
              <a:rPr lang="nb-NO" sz="3200" b="1" dirty="0" smtClean="0"/>
              <a:t/>
            </a:r>
            <a:br>
              <a:rPr lang="nb-NO" sz="3200" b="1" dirty="0" smtClean="0"/>
            </a:br>
            <a:r>
              <a:rPr lang="nb-NO" sz="3200" b="1" dirty="0" smtClean="0"/>
              <a:t>ved </a:t>
            </a:r>
            <a:r>
              <a:rPr lang="nb-NO" sz="3200" b="1" dirty="0"/>
              <a:t>Bleiker videregående </a:t>
            </a:r>
            <a:r>
              <a:rPr lang="nb-NO" sz="3200" b="1" dirty="0" smtClean="0"/>
              <a:t>skole</a:t>
            </a:r>
          </a:p>
        </p:txBody>
      </p:sp>
    </p:spTree>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1"/>
          </p:nvPr>
        </p:nvSpPr>
        <p:spPr/>
        <p:txBody>
          <a:bodyPr/>
          <a:lstStyle/>
          <a:p>
            <a:pPr>
              <a:defRPr/>
            </a:pPr>
            <a:endParaRPr lang="en-GB"/>
          </a:p>
        </p:txBody>
      </p:sp>
      <p:sp>
        <p:nvSpPr>
          <p:cNvPr id="5" name="TekstSylinder 4"/>
          <p:cNvSpPr txBox="1"/>
          <p:nvPr/>
        </p:nvSpPr>
        <p:spPr>
          <a:xfrm>
            <a:off x="1331640" y="1916831"/>
            <a:ext cx="7272808" cy="5940088"/>
          </a:xfrm>
          <a:prstGeom prst="rect">
            <a:avLst/>
          </a:prstGeom>
          <a:noFill/>
        </p:spPr>
        <p:txBody>
          <a:bodyPr wrap="square" rtlCol="0">
            <a:spAutoFit/>
          </a:bodyPr>
          <a:lstStyle/>
          <a:p>
            <a:pPr marL="457200" indent="-457200">
              <a:buClr>
                <a:srgbClr val="008000"/>
              </a:buClr>
              <a:buFont typeface="Arial" pitchFamily="34" charset="0"/>
              <a:buChar char="•"/>
            </a:pPr>
            <a:r>
              <a:rPr lang="nb-NO" sz="3200" dirty="0" smtClean="0"/>
              <a:t>Ca. 500 elever, 130 ansatte</a:t>
            </a:r>
          </a:p>
          <a:p>
            <a:pPr marL="457200" indent="-457200">
              <a:buClr>
                <a:srgbClr val="008000"/>
              </a:buClr>
              <a:buFont typeface="Arial" pitchFamily="34" charset="0"/>
              <a:buChar char="•"/>
            </a:pPr>
            <a:r>
              <a:rPr lang="nb-NO" sz="2400" dirty="0" smtClean="0"/>
              <a:t>Elektrofag</a:t>
            </a:r>
          </a:p>
          <a:p>
            <a:pPr marL="457200" indent="-457200">
              <a:buClr>
                <a:srgbClr val="008000"/>
              </a:buClr>
              <a:buFont typeface="Arial" pitchFamily="34" charset="0"/>
              <a:buChar char="•"/>
            </a:pPr>
            <a:r>
              <a:rPr lang="nb-NO" sz="2400" dirty="0" smtClean="0"/>
              <a:t>Helse- og oppvekstfag</a:t>
            </a:r>
          </a:p>
          <a:p>
            <a:pPr marL="457200" indent="-457200">
              <a:buClr>
                <a:srgbClr val="008000"/>
              </a:buClr>
              <a:buFont typeface="Arial" pitchFamily="34" charset="0"/>
              <a:buChar char="•"/>
            </a:pPr>
            <a:r>
              <a:rPr lang="nb-NO" sz="2400" dirty="0" smtClean="0"/>
              <a:t>Medier og kommunikasjon</a:t>
            </a:r>
          </a:p>
          <a:p>
            <a:pPr marL="457200" indent="-457200">
              <a:buClr>
                <a:srgbClr val="008000"/>
              </a:buClr>
              <a:buFont typeface="Arial" pitchFamily="34" charset="0"/>
              <a:buChar char="•"/>
            </a:pPr>
            <a:r>
              <a:rPr lang="nb-NO" sz="2400" dirty="0" smtClean="0"/>
              <a:t>Musikk, dans og drama</a:t>
            </a:r>
          </a:p>
          <a:p>
            <a:pPr marL="457200" indent="-457200">
              <a:buClr>
                <a:srgbClr val="008000"/>
              </a:buClr>
              <a:buFont typeface="Arial" pitchFamily="34" charset="0"/>
              <a:buChar char="•"/>
            </a:pPr>
            <a:r>
              <a:rPr lang="nb-NO" sz="2400" dirty="0" smtClean="0"/>
              <a:t>Restaurant- og </a:t>
            </a:r>
            <a:r>
              <a:rPr lang="nb-NO" sz="2400" dirty="0" err="1" smtClean="0"/>
              <a:t>matfag</a:t>
            </a:r>
            <a:endParaRPr lang="nb-NO" sz="2400" dirty="0" smtClean="0"/>
          </a:p>
          <a:p>
            <a:pPr marL="457200" indent="-457200">
              <a:buClr>
                <a:srgbClr val="008000"/>
              </a:buClr>
              <a:buFont typeface="Arial" pitchFamily="34" charset="0"/>
              <a:buChar char="•"/>
            </a:pPr>
            <a:r>
              <a:rPr lang="nb-NO" sz="2400" dirty="0" smtClean="0"/>
              <a:t>Service og samferdsel</a:t>
            </a:r>
          </a:p>
          <a:p>
            <a:pPr marL="457200" indent="-457200">
              <a:buClr>
                <a:srgbClr val="008000"/>
              </a:buClr>
              <a:buFont typeface="Arial" pitchFamily="34" charset="0"/>
              <a:buChar char="•"/>
            </a:pPr>
            <a:r>
              <a:rPr lang="nb-NO" sz="2400" dirty="0" smtClean="0"/>
              <a:t>Studiespesialisering med formgivningsfag</a:t>
            </a:r>
          </a:p>
          <a:p>
            <a:pPr marL="457200" indent="-457200">
              <a:buClr>
                <a:srgbClr val="008000"/>
              </a:buClr>
              <a:buFont typeface="Arial" pitchFamily="34" charset="0"/>
              <a:buChar char="•"/>
            </a:pPr>
            <a:r>
              <a:rPr lang="nb-NO" sz="2400" dirty="0" smtClean="0"/>
              <a:t>Teknikk og industriell produksjon</a:t>
            </a:r>
          </a:p>
          <a:p>
            <a:pPr marL="457200" indent="-457200">
              <a:buClr>
                <a:srgbClr val="008000"/>
              </a:buClr>
              <a:buFont typeface="Arial" pitchFamily="34" charset="0"/>
              <a:buChar char="•"/>
            </a:pPr>
            <a:r>
              <a:rPr lang="nb-NO" sz="2400" dirty="0" smtClean="0"/>
              <a:t>Allmennfaglige påbygningskurs</a:t>
            </a:r>
          </a:p>
          <a:p>
            <a:pPr marL="457200" indent="-457200">
              <a:buClr>
                <a:srgbClr val="008000"/>
              </a:buClr>
              <a:buFont typeface="Arial" pitchFamily="34" charset="0"/>
              <a:buChar char="•"/>
            </a:pPr>
            <a:r>
              <a:rPr lang="nb-NO" sz="2400" dirty="0" smtClean="0"/>
              <a:t>Forberedende kurs for minoritetsspråklige</a:t>
            </a:r>
          </a:p>
          <a:p>
            <a:pPr marL="457200" indent="-457200">
              <a:buClr>
                <a:srgbClr val="008000"/>
              </a:buClr>
              <a:buFont typeface="Arial" pitchFamily="34" charset="0"/>
              <a:buChar char="•"/>
            </a:pPr>
            <a:r>
              <a:rPr lang="nb-NO" sz="2400" dirty="0" smtClean="0"/>
              <a:t>Tilrettelagt opplæring i smågrupper</a:t>
            </a:r>
          </a:p>
          <a:p>
            <a:pPr marL="457200" indent="-457200">
              <a:buClr>
                <a:srgbClr val="008000"/>
              </a:buClr>
              <a:buFont typeface="Arial" pitchFamily="34" charset="0"/>
              <a:buChar char="•"/>
            </a:pPr>
            <a:endParaRPr lang="nb-NO" sz="2000" dirty="0" smtClean="0"/>
          </a:p>
          <a:p>
            <a:pPr>
              <a:buClr>
                <a:srgbClr val="008000"/>
              </a:buClr>
            </a:pPr>
            <a:endParaRPr lang="nb-NO" sz="3200" dirty="0" smtClean="0"/>
          </a:p>
          <a:p>
            <a:pPr marL="342900" indent="-342900">
              <a:buClr>
                <a:srgbClr val="008000"/>
              </a:buClr>
              <a:buFont typeface="Wingdings" pitchFamily="2" charset="2"/>
              <a:buChar char="v"/>
            </a:pPr>
            <a:endParaRPr lang="nb-NO" sz="3200" dirty="0" smtClean="0"/>
          </a:p>
        </p:txBody>
      </p:sp>
      <p:sp>
        <p:nvSpPr>
          <p:cNvPr id="6" name="Text Box 5"/>
          <p:cNvSpPr txBox="1">
            <a:spLocks noChangeArrowheads="1"/>
          </p:cNvSpPr>
          <p:nvPr/>
        </p:nvSpPr>
        <p:spPr bwMode="auto">
          <a:xfrm>
            <a:off x="4643438" y="152400"/>
            <a:ext cx="4500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pPr>
            <a:r>
              <a:rPr lang="nb-NO" sz="2400" b="1" dirty="0" smtClean="0">
                <a:solidFill>
                  <a:srgbClr val="606060"/>
                </a:solidFill>
                <a:latin typeface="Garamond" pitchFamily="18" charset="0"/>
              </a:rPr>
              <a:t>Bleiker videregående skole</a:t>
            </a:r>
            <a:endParaRPr lang="nb-NO" sz="2400" dirty="0">
              <a:solidFill>
                <a:srgbClr val="606060"/>
              </a:solidFill>
              <a:latin typeface="Garamond" pitchFamily="18" charset="0"/>
            </a:endParaRPr>
          </a:p>
        </p:txBody>
      </p:sp>
      <p:sp>
        <p:nvSpPr>
          <p:cNvPr id="2" name="TekstSylinder 1"/>
          <p:cNvSpPr txBox="1"/>
          <p:nvPr/>
        </p:nvSpPr>
        <p:spPr>
          <a:xfrm>
            <a:off x="1115616" y="908720"/>
            <a:ext cx="7344816" cy="584775"/>
          </a:xfrm>
          <a:prstGeom prst="rect">
            <a:avLst/>
          </a:prstGeom>
          <a:noFill/>
        </p:spPr>
        <p:txBody>
          <a:bodyPr wrap="square" rtlCol="0">
            <a:spAutoFit/>
          </a:bodyPr>
          <a:lstStyle/>
          <a:p>
            <a:r>
              <a:rPr lang="nb-NO" sz="3200" b="1" dirty="0" smtClean="0"/>
              <a:t>Fakta om Bleiker videregående skole</a:t>
            </a:r>
            <a:endParaRPr lang="nb-NO" sz="3200" b="1" dirty="0"/>
          </a:p>
        </p:txBody>
      </p:sp>
    </p:spTree>
    <p:extLst>
      <p:ext uri="{BB962C8B-B14F-4D97-AF65-F5344CB8AC3E}">
        <p14:creationId xmlns:p14="http://schemas.microsoft.com/office/powerpoint/2010/main" xmlns="" val="3387557804"/>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xmlns="" val="3774446669"/>
              </p:ext>
            </p:extLst>
          </p:nvPr>
        </p:nvGraphicFramePr>
        <p:xfrm>
          <a:off x="107504" y="0"/>
          <a:ext cx="8916144"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kstSylinder 2"/>
          <p:cNvSpPr txBox="1"/>
          <p:nvPr/>
        </p:nvSpPr>
        <p:spPr>
          <a:xfrm>
            <a:off x="5652120" y="836712"/>
            <a:ext cx="2736304" cy="707886"/>
          </a:xfrm>
          <a:prstGeom prst="rect">
            <a:avLst/>
          </a:prstGeom>
          <a:noFill/>
        </p:spPr>
        <p:txBody>
          <a:bodyPr wrap="square" rtlCol="0">
            <a:spAutoFit/>
          </a:bodyPr>
          <a:lstStyle/>
          <a:p>
            <a:r>
              <a:rPr lang="nb-NO" sz="2000" b="1" dirty="0" smtClean="0">
                <a:solidFill>
                  <a:srgbClr val="FF9900"/>
                </a:solidFill>
              </a:rPr>
              <a:t>Organisasjonskart Bleiker 2012-13</a:t>
            </a:r>
            <a:endParaRPr lang="nb-NO" sz="2000" b="1" dirty="0">
              <a:solidFill>
                <a:srgbClr val="FF9900"/>
              </a:solidFill>
            </a:endParaRPr>
          </a:p>
        </p:txBody>
      </p:sp>
      <p:sp>
        <p:nvSpPr>
          <p:cNvPr id="4" name="TekstSylinder 3"/>
          <p:cNvSpPr txBox="1"/>
          <p:nvPr/>
        </p:nvSpPr>
        <p:spPr>
          <a:xfrm>
            <a:off x="107504" y="4653136"/>
            <a:ext cx="1008112" cy="646331"/>
          </a:xfrm>
          <a:prstGeom prst="rect">
            <a:avLst/>
          </a:prstGeom>
          <a:noFill/>
        </p:spPr>
        <p:txBody>
          <a:bodyPr wrap="square" rtlCol="0">
            <a:spAutoFit/>
          </a:bodyPr>
          <a:lstStyle/>
          <a:p>
            <a:r>
              <a:rPr lang="nb-NO" dirty="0" smtClean="0"/>
              <a:t>FGL: 116 %</a:t>
            </a:r>
            <a:endParaRPr lang="nb-NO" dirty="0"/>
          </a:p>
        </p:txBody>
      </p:sp>
    </p:spTree>
    <p:extLst>
      <p:ext uri="{BB962C8B-B14F-4D97-AF65-F5344CB8AC3E}">
        <p14:creationId xmlns:p14="http://schemas.microsoft.com/office/powerpoint/2010/main" xmlns="" val="1775566954"/>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idx="4294967295"/>
          </p:nvPr>
        </p:nvSpPr>
        <p:spPr/>
        <p:txBody>
          <a:bodyPr>
            <a:normAutofit fontScale="90000"/>
          </a:bodyPr>
          <a:lstStyle/>
          <a:p>
            <a:pPr eaLnBrk="1" hangingPunct="1">
              <a:defRPr/>
            </a:pPr>
            <a:r>
              <a:rPr lang="nb-NO" sz="4000" dirty="0" smtClean="0"/>
              <a:t/>
            </a:r>
            <a:br>
              <a:rPr lang="nb-NO" sz="4000" dirty="0" smtClean="0"/>
            </a:br>
            <a:r>
              <a:rPr lang="nb-NO" sz="3600" dirty="0" smtClean="0"/>
              <a:t>1. Hvorfor ble prosjektet satt i gang?</a:t>
            </a:r>
          </a:p>
        </p:txBody>
      </p:sp>
    </p:spTree>
    <p:extLst>
      <p:ext uri="{BB962C8B-B14F-4D97-AF65-F5344CB8AC3E}">
        <p14:creationId xmlns:p14="http://schemas.microsoft.com/office/powerpoint/2010/main" xmlns="" val="496288329"/>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1"/>
          </p:nvPr>
        </p:nvSpPr>
        <p:spPr/>
        <p:txBody>
          <a:bodyPr/>
          <a:lstStyle/>
          <a:p>
            <a:pPr>
              <a:defRPr/>
            </a:pPr>
            <a:endParaRPr lang="en-GB"/>
          </a:p>
        </p:txBody>
      </p:sp>
      <p:sp>
        <p:nvSpPr>
          <p:cNvPr id="5" name="TekstSylinder 4"/>
          <p:cNvSpPr txBox="1"/>
          <p:nvPr/>
        </p:nvSpPr>
        <p:spPr>
          <a:xfrm>
            <a:off x="899592" y="1916832"/>
            <a:ext cx="7416824" cy="3847207"/>
          </a:xfrm>
          <a:prstGeom prst="rect">
            <a:avLst/>
          </a:prstGeom>
          <a:noFill/>
        </p:spPr>
        <p:txBody>
          <a:bodyPr wrap="square" rtlCol="0">
            <a:spAutoFit/>
          </a:bodyPr>
          <a:lstStyle/>
          <a:p>
            <a:pPr marL="457200" indent="-457200">
              <a:buClr>
                <a:srgbClr val="008000"/>
              </a:buClr>
              <a:buFont typeface="Arial" pitchFamily="34" charset="0"/>
              <a:buChar char="•"/>
            </a:pPr>
            <a:r>
              <a:rPr lang="nb-NO" sz="3200" dirty="0" smtClean="0">
                <a:solidFill>
                  <a:srgbClr val="FF9900"/>
                </a:solidFill>
              </a:rPr>
              <a:t>Visjon</a:t>
            </a:r>
            <a:r>
              <a:rPr lang="nb-NO" sz="3200" dirty="0" smtClean="0"/>
              <a:t>: Rom for alle – blikk for den enkelte</a:t>
            </a:r>
          </a:p>
          <a:p>
            <a:pPr marL="457200" indent="-457200">
              <a:buClr>
                <a:srgbClr val="008000"/>
              </a:buClr>
              <a:buFont typeface="Arial" pitchFamily="34" charset="0"/>
              <a:buChar char="•"/>
            </a:pPr>
            <a:r>
              <a:rPr lang="nb-NO" sz="3200" dirty="0" smtClean="0"/>
              <a:t>Alle er lærende, alle er forskjellige, men likeverdige</a:t>
            </a:r>
          </a:p>
          <a:p>
            <a:pPr marL="457200" indent="-457200">
              <a:buClr>
                <a:srgbClr val="008000"/>
              </a:buClr>
              <a:buFont typeface="Arial" pitchFamily="34" charset="0"/>
              <a:buChar char="•"/>
            </a:pPr>
            <a:r>
              <a:rPr lang="nb-NO" sz="3200" dirty="0" smtClean="0">
                <a:solidFill>
                  <a:srgbClr val="FF9900"/>
                </a:solidFill>
              </a:rPr>
              <a:t>Hovedmål</a:t>
            </a:r>
            <a:r>
              <a:rPr lang="nb-NO" sz="3200" dirty="0" smtClean="0"/>
              <a:t>: Fullført og bestått og positiv karakterutvikling</a:t>
            </a:r>
          </a:p>
          <a:p>
            <a:pPr marL="457200" indent="-457200">
              <a:buClr>
                <a:srgbClr val="008000"/>
              </a:buClr>
              <a:buFont typeface="Arial" pitchFamily="34" charset="0"/>
              <a:buChar char="•"/>
            </a:pPr>
            <a:endParaRPr lang="nb-NO" sz="3200" dirty="0" smtClean="0"/>
          </a:p>
          <a:p>
            <a:pPr lvl="0">
              <a:buClr>
                <a:srgbClr val="008000"/>
              </a:buClr>
            </a:pPr>
            <a:endParaRPr lang="nb-NO" sz="2000" dirty="0"/>
          </a:p>
        </p:txBody>
      </p:sp>
      <p:sp>
        <p:nvSpPr>
          <p:cNvPr id="6" name="Text Box 5"/>
          <p:cNvSpPr txBox="1">
            <a:spLocks noChangeArrowheads="1"/>
          </p:cNvSpPr>
          <p:nvPr/>
        </p:nvSpPr>
        <p:spPr bwMode="auto">
          <a:xfrm>
            <a:off x="4643438" y="152400"/>
            <a:ext cx="4500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pPr>
            <a:r>
              <a:rPr lang="nb-NO" sz="2400" b="1" dirty="0" smtClean="0">
                <a:solidFill>
                  <a:srgbClr val="606060"/>
                </a:solidFill>
                <a:latin typeface="Garamond" pitchFamily="18" charset="0"/>
              </a:rPr>
              <a:t>Bleiker videregående skole</a:t>
            </a:r>
            <a:endParaRPr lang="nb-NO" sz="2400" dirty="0">
              <a:solidFill>
                <a:srgbClr val="606060"/>
              </a:solidFill>
              <a:latin typeface="Garamond" pitchFamily="18" charset="0"/>
            </a:endParaRPr>
          </a:p>
        </p:txBody>
      </p:sp>
      <p:sp>
        <p:nvSpPr>
          <p:cNvPr id="3" name="TekstSylinder 2"/>
          <p:cNvSpPr txBox="1"/>
          <p:nvPr/>
        </p:nvSpPr>
        <p:spPr>
          <a:xfrm>
            <a:off x="1331640" y="1052736"/>
            <a:ext cx="6552728" cy="646331"/>
          </a:xfrm>
          <a:prstGeom prst="rect">
            <a:avLst/>
          </a:prstGeom>
          <a:noFill/>
        </p:spPr>
        <p:txBody>
          <a:bodyPr wrap="square" rtlCol="0">
            <a:spAutoFit/>
          </a:bodyPr>
          <a:lstStyle/>
          <a:p>
            <a:r>
              <a:rPr lang="nb-NO" sz="3600" b="1" dirty="0" err="1" smtClean="0"/>
              <a:t>Bleikers</a:t>
            </a:r>
            <a:r>
              <a:rPr lang="nb-NO" sz="3600" b="1" dirty="0" smtClean="0"/>
              <a:t> visjon og hovedmål</a:t>
            </a:r>
            <a:endParaRPr lang="nb-NO" sz="3600" b="1" dirty="0"/>
          </a:p>
        </p:txBody>
      </p:sp>
    </p:spTree>
    <p:extLst>
      <p:ext uri="{BB962C8B-B14F-4D97-AF65-F5344CB8AC3E}">
        <p14:creationId xmlns:p14="http://schemas.microsoft.com/office/powerpoint/2010/main" xmlns="" val="2195613940"/>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1"/>
          </p:nvPr>
        </p:nvSpPr>
        <p:spPr/>
        <p:txBody>
          <a:bodyPr/>
          <a:lstStyle/>
          <a:p>
            <a:pPr>
              <a:defRPr/>
            </a:pPr>
            <a:endParaRPr lang="en-GB"/>
          </a:p>
        </p:txBody>
      </p:sp>
      <p:sp>
        <p:nvSpPr>
          <p:cNvPr id="5" name="TekstSylinder 4"/>
          <p:cNvSpPr txBox="1"/>
          <p:nvPr/>
        </p:nvSpPr>
        <p:spPr>
          <a:xfrm>
            <a:off x="899592" y="1916832"/>
            <a:ext cx="7416824" cy="3847207"/>
          </a:xfrm>
          <a:prstGeom prst="rect">
            <a:avLst/>
          </a:prstGeom>
          <a:noFill/>
        </p:spPr>
        <p:txBody>
          <a:bodyPr wrap="square" rtlCol="0">
            <a:spAutoFit/>
          </a:bodyPr>
          <a:lstStyle/>
          <a:p>
            <a:pPr marL="457200" indent="-457200">
              <a:buClr>
                <a:srgbClr val="008000"/>
              </a:buClr>
              <a:buFont typeface="Arial" pitchFamily="34" charset="0"/>
              <a:buChar char="•"/>
            </a:pPr>
            <a:r>
              <a:rPr lang="nb-NO" sz="3200" dirty="0" smtClean="0"/>
              <a:t>Vi satser på</a:t>
            </a:r>
          </a:p>
          <a:p>
            <a:pPr marL="914400" lvl="1" indent="-457200">
              <a:buClr>
                <a:srgbClr val="008000"/>
              </a:buClr>
              <a:buFont typeface="Arial" pitchFamily="34" charset="0"/>
              <a:buChar char="•"/>
            </a:pPr>
            <a:r>
              <a:rPr lang="nb-NO" sz="3200" dirty="0" smtClean="0"/>
              <a:t>Tydelig ledelse</a:t>
            </a:r>
          </a:p>
          <a:p>
            <a:pPr marL="914400" lvl="1" indent="-457200">
              <a:buClr>
                <a:srgbClr val="008000"/>
              </a:buClr>
              <a:buFont typeface="Arial" pitchFamily="34" charset="0"/>
              <a:buChar char="•"/>
            </a:pPr>
            <a:r>
              <a:rPr lang="nb-NO" sz="3200" dirty="0" smtClean="0"/>
              <a:t>Klasseledelse</a:t>
            </a:r>
            <a:endParaRPr lang="nb-NO" sz="3200" dirty="0"/>
          </a:p>
          <a:p>
            <a:pPr marL="914400" lvl="1" indent="-457200">
              <a:buClr>
                <a:srgbClr val="008000"/>
              </a:buClr>
              <a:buFont typeface="Arial" pitchFamily="34" charset="0"/>
              <a:buChar char="•"/>
            </a:pPr>
            <a:r>
              <a:rPr lang="nb-NO" sz="3200" dirty="0" smtClean="0"/>
              <a:t>Vurdering</a:t>
            </a:r>
          </a:p>
          <a:p>
            <a:pPr marL="914400" lvl="1" indent="-457200">
              <a:buClr>
                <a:srgbClr val="008000"/>
              </a:buClr>
              <a:buFont typeface="Arial" pitchFamily="34" charset="0"/>
              <a:buChar char="•"/>
            </a:pPr>
            <a:r>
              <a:rPr lang="nb-NO" sz="3200" dirty="0" smtClean="0"/>
              <a:t>Grunnleggende ferdigheter</a:t>
            </a:r>
          </a:p>
          <a:p>
            <a:pPr marL="914400" lvl="1" indent="-457200">
              <a:buClr>
                <a:srgbClr val="008000"/>
              </a:buClr>
              <a:buFont typeface="Arial" pitchFamily="34" charset="0"/>
              <a:buChar char="•"/>
            </a:pPr>
            <a:r>
              <a:rPr lang="nb-NO" sz="3200" dirty="0" smtClean="0"/>
              <a:t>Systematisk elevoppfølging (IKO)</a:t>
            </a:r>
          </a:p>
          <a:p>
            <a:pPr marL="457200" indent="-457200">
              <a:buClr>
                <a:srgbClr val="008000"/>
              </a:buClr>
              <a:buFont typeface="Arial" pitchFamily="34" charset="0"/>
              <a:buChar char="•"/>
            </a:pPr>
            <a:endParaRPr lang="nb-NO" sz="3200" dirty="0" smtClean="0"/>
          </a:p>
          <a:p>
            <a:pPr lvl="0">
              <a:buClr>
                <a:srgbClr val="008000"/>
              </a:buClr>
            </a:pPr>
            <a:endParaRPr lang="nb-NO" sz="2000" dirty="0"/>
          </a:p>
        </p:txBody>
      </p:sp>
      <p:sp>
        <p:nvSpPr>
          <p:cNvPr id="6" name="Text Box 5"/>
          <p:cNvSpPr txBox="1">
            <a:spLocks noChangeArrowheads="1"/>
          </p:cNvSpPr>
          <p:nvPr/>
        </p:nvSpPr>
        <p:spPr bwMode="auto">
          <a:xfrm>
            <a:off x="4643438" y="152400"/>
            <a:ext cx="4500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pPr>
            <a:r>
              <a:rPr lang="nb-NO" sz="2400" b="1" dirty="0" smtClean="0">
                <a:solidFill>
                  <a:srgbClr val="606060"/>
                </a:solidFill>
                <a:latin typeface="Garamond" pitchFamily="18" charset="0"/>
              </a:rPr>
              <a:t>Bleiker videregående skole</a:t>
            </a:r>
            <a:endParaRPr lang="nb-NO" sz="2400" dirty="0">
              <a:solidFill>
                <a:srgbClr val="606060"/>
              </a:solidFill>
              <a:latin typeface="Garamond" pitchFamily="18" charset="0"/>
            </a:endParaRPr>
          </a:p>
        </p:txBody>
      </p:sp>
      <p:sp>
        <p:nvSpPr>
          <p:cNvPr id="3" name="TekstSylinder 2"/>
          <p:cNvSpPr txBox="1"/>
          <p:nvPr/>
        </p:nvSpPr>
        <p:spPr>
          <a:xfrm>
            <a:off x="1331640" y="1052736"/>
            <a:ext cx="6336704" cy="646331"/>
          </a:xfrm>
          <a:prstGeom prst="rect">
            <a:avLst/>
          </a:prstGeom>
          <a:noFill/>
        </p:spPr>
        <p:txBody>
          <a:bodyPr wrap="square" rtlCol="0">
            <a:spAutoFit/>
          </a:bodyPr>
          <a:lstStyle/>
          <a:p>
            <a:r>
              <a:rPr lang="nb-NO" sz="3600" b="1" dirty="0" smtClean="0"/>
              <a:t>Hvordan skal vi nå målene?</a:t>
            </a:r>
            <a:endParaRPr lang="nb-NO" sz="3600" b="1" dirty="0"/>
          </a:p>
        </p:txBody>
      </p:sp>
    </p:spTree>
    <p:extLst>
      <p:ext uri="{BB962C8B-B14F-4D97-AF65-F5344CB8AC3E}">
        <p14:creationId xmlns:p14="http://schemas.microsoft.com/office/powerpoint/2010/main" xmlns="" val="2326968829"/>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1"/>
          </p:nvPr>
        </p:nvSpPr>
        <p:spPr/>
        <p:txBody>
          <a:bodyPr/>
          <a:lstStyle/>
          <a:p>
            <a:pPr>
              <a:defRPr/>
            </a:pPr>
            <a:endParaRPr lang="en-GB"/>
          </a:p>
        </p:txBody>
      </p:sp>
      <p:sp>
        <p:nvSpPr>
          <p:cNvPr id="5" name="TekstSylinder 4"/>
          <p:cNvSpPr txBox="1"/>
          <p:nvPr/>
        </p:nvSpPr>
        <p:spPr>
          <a:xfrm>
            <a:off x="1043608" y="1844824"/>
            <a:ext cx="7560840" cy="5016758"/>
          </a:xfrm>
          <a:prstGeom prst="rect">
            <a:avLst/>
          </a:prstGeom>
          <a:noFill/>
        </p:spPr>
        <p:txBody>
          <a:bodyPr wrap="square" rtlCol="0">
            <a:spAutoFit/>
          </a:bodyPr>
          <a:lstStyle/>
          <a:p>
            <a:pPr marL="457200" indent="-457200">
              <a:buClr>
                <a:srgbClr val="008000"/>
              </a:buClr>
              <a:buFont typeface="Arial" pitchFamily="34" charset="0"/>
              <a:buChar char="•"/>
            </a:pPr>
            <a:r>
              <a:rPr lang="nb-NO" sz="3200" dirty="0" smtClean="0"/>
              <a:t>Det er ikke bare tid som er viktig – også type ledelse</a:t>
            </a:r>
          </a:p>
          <a:p>
            <a:pPr marL="457200" indent="-457200">
              <a:buClr>
                <a:srgbClr val="008000"/>
              </a:buClr>
              <a:buFont typeface="Arial" pitchFamily="34" charset="0"/>
              <a:buChar char="•"/>
            </a:pPr>
            <a:r>
              <a:rPr lang="nb-NO" sz="3200" dirty="0" smtClean="0"/>
              <a:t>Vi ønsker å strebe mot en type ledelse der lederen involverer seg i lærernes læring og utvikling (Robinson)</a:t>
            </a:r>
          </a:p>
          <a:p>
            <a:pPr marL="457200" indent="-457200">
              <a:buClr>
                <a:srgbClr val="008000"/>
              </a:buClr>
              <a:buFont typeface="Arial" pitchFamily="34" charset="0"/>
              <a:buChar char="•"/>
            </a:pPr>
            <a:r>
              <a:rPr lang="nb-NO" sz="3200" dirty="0" smtClean="0"/>
              <a:t>Elevenes læringsresultater er viktige for oss, det skal bety noe følelsesmessig om en elev dropper ut eller stryker</a:t>
            </a:r>
          </a:p>
          <a:p>
            <a:pPr>
              <a:buClr>
                <a:srgbClr val="008000"/>
              </a:buClr>
            </a:pPr>
            <a:endParaRPr lang="nb-NO" sz="3200" dirty="0" smtClean="0"/>
          </a:p>
        </p:txBody>
      </p:sp>
      <p:sp>
        <p:nvSpPr>
          <p:cNvPr id="6" name="Text Box 5"/>
          <p:cNvSpPr txBox="1">
            <a:spLocks noChangeArrowheads="1"/>
          </p:cNvSpPr>
          <p:nvPr/>
        </p:nvSpPr>
        <p:spPr bwMode="auto">
          <a:xfrm>
            <a:off x="4643438" y="152400"/>
            <a:ext cx="4500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pPr>
            <a:r>
              <a:rPr lang="nb-NO" sz="2400" b="1" dirty="0" smtClean="0">
                <a:solidFill>
                  <a:srgbClr val="606060"/>
                </a:solidFill>
                <a:latin typeface="Garamond" pitchFamily="18" charset="0"/>
              </a:rPr>
              <a:t>Bleiker videregående skole</a:t>
            </a:r>
            <a:endParaRPr lang="nb-NO" sz="2400" dirty="0">
              <a:solidFill>
                <a:srgbClr val="606060"/>
              </a:solidFill>
              <a:latin typeface="Garamond" pitchFamily="18" charset="0"/>
            </a:endParaRPr>
          </a:p>
        </p:txBody>
      </p:sp>
      <p:sp>
        <p:nvSpPr>
          <p:cNvPr id="2" name="TekstSylinder 1"/>
          <p:cNvSpPr txBox="1"/>
          <p:nvPr/>
        </p:nvSpPr>
        <p:spPr>
          <a:xfrm>
            <a:off x="1259632" y="908720"/>
            <a:ext cx="7128792" cy="646331"/>
          </a:xfrm>
          <a:prstGeom prst="rect">
            <a:avLst/>
          </a:prstGeom>
          <a:noFill/>
        </p:spPr>
        <p:txBody>
          <a:bodyPr wrap="square" rtlCol="0">
            <a:spAutoFit/>
          </a:bodyPr>
          <a:lstStyle/>
          <a:p>
            <a:r>
              <a:rPr lang="nb-NO" sz="3600" b="1" dirty="0" err="1" smtClean="0"/>
              <a:t>Bleikers</a:t>
            </a:r>
            <a:r>
              <a:rPr lang="nb-NO" sz="3600" b="1" dirty="0" smtClean="0"/>
              <a:t> tilnærming til ledelse</a:t>
            </a:r>
            <a:endParaRPr lang="nb-NO" sz="3600" b="1" dirty="0"/>
          </a:p>
        </p:txBody>
      </p:sp>
    </p:spTree>
    <p:extLst>
      <p:ext uri="{BB962C8B-B14F-4D97-AF65-F5344CB8AC3E}">
        <p14:creationId xmlns:p14="http://schemas.microsoft.com/office/powerpoint/2010/main" xmlns="" val="2309481144"/>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1"/>
          </p:nvPr>
        </p:nvSpPr>
        <p:spPr/>
        <p:txBody>
          <a:bodyPr/>
          <a:lstStyle/>
          <a:p>
            <a:pPr>
              <a:defRPr/>
            </a:pPr>
            <a:endParaRPr lang="en-GB"/>
          </a:p>
        </p:txBody>
      </p:sp>
      <p:sp>
        <p:nvSpPr>
          <p:cNvPr id="5" name="TekstSylinder 4"/>
          <p:cNvSpPr txBox="1"/>
          <p:nvPr/>
        </p:nvSpPr>
        <p:spPr>
          <a:xfrm>
            <a:off x="1043608" y="1844824"/>
            <a:ext cx="7560840" cy="5016758"/>
          </a:xfrm>
          <a:prstGeom prst="rect">
            <a:avLst/>
          </a:prstGeom>
          <a:noFill/>
        </p:spPr>
        <p:txBody>
          <a:bodyPr wrap="square" rtlCol="0">
            <a:spAutoFit/>
          </a:bodyPr>
          <a:lstStyle/>
          <a:p>
            <a:pPr marL="457200" indent="-457200">
              <a:buClr>
                <a:srgbClr val="008000"/>
              </a:buClr>
              <a:buFont typeface="Arial" pitchFamily="34" charset="0"/>
              <a:buChar char="•"/>
            </a:pPr>
            <a:r>
              <a:rPr lang="nb-NO" sz="3200" dirty="0" smtClean="0"/>
              <a:t>Avdelingslederne er nøkkelpersoner (og hadde 100 % tid til ledelse også før prosjektet)</a:t>
            </a:r>
          </a:p>
          <a:p>
            <a:pPr marL="457200" indent="-457200">
              <a:buClr>
                <a:srgbClr val="008000"/>
              </a:buClr>
              <a:buFont typeface="Arial" pitchFamily="34" charset="0"/>
              <a:buChar char="•"/>
            </a:pPr>
            <a:r>
              <a:rPr lang="nb-NO" sz="3200" dirty="0" smtClean="0"/>
              <a:t>De følger opp lærerne i klasserom/verksted</a:t>
            </a:r>
          </a:p>
          <a:p>
            <a:pPr marL="457200" indent="-457200">
              <a:buClr>
                <a:srgbClr val="008000"/>
              </a:buClr>
              <a:buFont typeface="Arial" pitchFamily="34" charset="0"/>
              <a:buChar char="•"/>
            </a:pPr>
            <a:r>
              <a:rPr lang="nb-NO" sz="3200" dirty="0" smtClean="0"/>
              <a:t>Skolevandring</a:t>
            </a:r>
          </a:p>
          <a:p>
            <a:pPr marL="457200" indent="-457200">
              <a:buClr>
                <a:srgbClr val="008000"/>
              </a:buClr>
              <a:buFont typeface="Arial" pitchFamily="34" charset="0"/>
              <a:buChar char="•"/>
            </a:pPr>
            <a:r>
              <a:rPr lang="nb-NO" sz="3200" dirty="0" smtClean="0"/>
              <a:t>Dialog om undervisning og elevenes læringsarbeid</a:t>
            </a:r>
            <a:endParaRPr lang="nb-NO" sz="2000" dirty="0" smtClean="0"/>
          </a:p>
          <a:p>
            <a:pPr>
              <a:buClr>
                <a:srgbClr val="008000"/>
              </a:buClr>
            </a:pPr>
            <a:endParaRPr lang="nb-NO" sz="3200" dirty="0" smtClean="0"/>
          </a:p>
          <a:p>
            <a:pPr marL="342900" indent="-342900">
              <a:buClr>
                <a:srgbClr val="008000"/>
              </a:buClr>
              <a:buFont typeface="Wingdings" pitchFamily="2" charset="2"/>
              <a:buChar char="v"/>
            </a:pPr>
            <a:endParaRPr lang="nb-NO" sz="3200" dirty="0" smtClean="0"/>
          </a:p>
        </p:txBody>
      </p:sp>
      <p:sp>
        <p:nvSpPr>
          <p:cNvPr id="6" name="Text Box 5"/>
          <p:cNvSpPr txBox="1">
            <a:spLocks noChangeArrowheads="1"/>
          </p:cNvSpPr>
          <p:nvPr/>
        </p:nvSpPr>
        <p:spPr bwMode="auto">
          <a:xfrm>
            <a:off x="4643438" y="152400"/>
            <a:ext cx="4500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pPr>
            <a:r>
              <a:rPr lang="nb-NO" sz="2400" b="1" dirty="0" smtClean="0">
                <a:solidFill>
                  <a:srgbClr val="606060"/>
                </a:solidFill>
                <a:latin typeface="Garamond" pitchFamily="18" charset="0"/>
              </a:rPr>
              <a:t>Bleiker videregående skole</a:t>
            </a:r>
            <a:endParaRPr lang="nb-NO" sz="2400" dirty="0">
              <a:solidFill>
                <a:srgbClr val="606060"/>
              </a:solidFill>
              <a:latin typeface="Garamond" pitchFamily="18" charset="0"/>
            </a:endParaRPr>
          </a:p>
        </p:txBody>
      </p:sp>
      <p:sp>
        <p:nvSpPr>
          <p:cNvPr id="2" name="TekstSylinder 1"/>
          <p:cNvSpPr txBox="1"/>
          <p:nvPr/>
        </p:nvSpPr>
        <p:spPr>
          <a:xfrm>
            <a:off x="1259632" y="908720"/>
            <a:ext cx="7128792" cy="584775"/>
          </a:xfrm>
          <a:prstGeom prst="rect">
            <a:avLst/>
          </a:prstGeom>
          <a:noFill/>
        </p:spPr>
        <p:txBody>
          <a:bodyPr wrap="square" rtlCol="0">
            <a:spAutoFit/>
          </a:bodyPr>
          <a:lstStyle/>
          <a:p>
            <a:r>
              <a:rPr lang="nb-NO" sz="3200" b="1" dirty="0" err="1" smtClean="0"/>
              <a:t>Bleikers</a:t>
            </a:r>
            <a:r>
              <a:rPr lang="nb-NO" sz="3200" b="1" dirty="0" smtClean="0"/>
              <a:t> tilnærming til ledelse forts.</a:t>
            </a:r>
            <a:endParaRPr lang="nb-NO" sz="3200" b="1" dirty="0"/>
          </a:p>
        </p:txBody>
      </p:sp>
    </p:spTree>
    <p:extLst>
      <p:ext uri="{BB962C8B-B14F-4D97-AF65-F5344CB8AC3E}">
        <p14:creationId xmlns:p14="http://schemas.microsoft.com/office/powerpoint/2010/main" xmlns="" val="4067760485"/>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1"/>
          </p:nvPr>
        </p:nvSpPr>
        <p:spPr/>
        <p:txBody>
          <a:bodyPr/>
          <a:lstStyle/>
          <a:p>
            <a:pPr>
              <a:defRPr/>
            </a:pPr>
            <a:endParaRPr lang="en-GB"/>
          </a:p>
        </p:txBody>
      </p:sp>
      <p:sp>
        <p:nvSpPr>
          <p:cNvPr id="5" name="TekstSylinder 4"/>
          <p:cNvSpPr txBox="1"/>
          <p:nvPr/>
        </p:nvSpPr>
        <p:spPr>
          <a:xfrm>
            <a:off x="1331640" y="1700809"/>
            <a:ext cx="6840760" cy="6186309"/>
          </a:xfrm>
          <a:prstGeom prst="rect">
            <a:avLst/>
          </a:prstGeom>
          <a:noFill/>
        </p:spPr>
        <p:txBody>
          <a:bodyPr wrap="square" rtlCol="0">
            <a:spAutoFit/>
          </a:bodyPr>
          <a:lstStyle/>
          <a:p>
            <a:pPr marL="342900" indent="-342900">
              <a:buClr>
                <a:srgbClr val="008000"/>
              </a:buClr>
              <a:buFont typeface="Arial" pitchFamily="34" charset="0"/>
              <a:buChar char="•"/>
            </a:pPr>
            <a:r>
              <a:rPr lang="nb-NO" sz="2400" b="1" dirty="0"/>
              <a:t> </a:t>
            </a:r>
            <a:r>
              <a:rPr lang="nb-NO" sz="2800" b="1" dirty="0" smtClean="0"/>
              <a:t>Skolevandring</a:t>
            </a:r>
          </a:p>
          <a:p>
            <a:pPr marL="457200" indent="-457200">
              <a:buClr>
                <a:srgbClr val="008000"/>
              </a:buClr>
              <a:buFont typeface="Arial" pitchFamily="34" charset="0"/>
              <a:buChar char="•"/>
            </a:pPr>
            <a:r>
              <a:rPr lang="nb-NO" sz="2600" dirty="0" smtClean="0"/>
              <a:t>3-6 </a:t>
            </a:r>
            <a:r>
              <a:rPr lang="nb-NO" sz="2600" dirty="0"/>
              <a:t>uanmeldte besøk av ca. 5 minutters </a:t>
            </a:r>
            <a:br>
              <a:rPr lang="nb-NO" sz="2600" dirty="0"/>
            </a:br>
            <a:r>
              <a:rPr lang="nb-NO" sz="2600" dirty="0" smtClean="0"/>
              <a:t>varighet</a:t>
            </a:r>
          </a:p>
          <a:p>
            <a:pPr marL="457200" indent="-457200">
              <a:buClr>
                <a:srgbClr val="008000"/>
              </a:buClr>
              <a:buFont typeface="Arial" pitchFamily="34" charset="0"/>
              <a:buChar char="•"/>
            </a:pPr>
            <a:r>
              <a:rPr lang="nb-NO" sz="2600" dirty="0" smtClean="0"/>
              <a:t>Besøk </a:t>
            </a:r>
            <a:r>
              <a:rPr lang="nb-NO" sz="2600" dirty="0"/>
              <a:t>til ulike tidspunkt i </a:t>
            </a:r>
            <a:r>
              <a:rPr lang="nb-NO" sz="2600" dirty="0" smtClean="0"/>
              <a:t>øktene</a:t>
            </a:r>
          </a:p>
          <a:p>
            <a:pPr marL="457200" indent="-457200">
              <a:buClr>
                <a:srgbClr val="008000"/>
              </a:buClr>
              <a:buFont typeface="Arial" pitchFamily="34" charset="0"/>
              <a:buChar char="•"/>
            </a:pPr>
            <a:r>
              <a:rPr lang="nb-NO" sz="2600" dirty="0" smtClean="0"/>
              <a:t>Kjente </a:t>
            </a:r>
            <a:r>
              <a:rPr lang="nb-NO" sz="2600" dirty="0"/>
              <a:t>observasjonspunkter – ser kun etter </a:t>
            </a:r>
            <a:r>
              <a:rPr lang="nb-NO" sz="2600" dirty="0" smtClean="0"/>
              <a:t>avtalte kjennetegn/kriterier</a:t>
            </a:r>
          </a:p>
          <a:p>
            <a:pPr marL="457200" indent="-457200">
              <a:buClr>
                <a:srgbClr val="008000"/>
              </a:buClr>
              <a:buFont typeface="Arial" pitchFamily="34" charset="0"/>
              <a:buChar char="•"/>
            </a:pPr>
            <a:r>
              <a:rPr lang="nb-NO" sz="2600" dirty="0" smtClean="0"/>
              <a:t>Oppfølgingssamtale </a:t>
            </a:r>
            <a:r>
              <a:rPr lang="nb-NO" sz="2600" dirty="0"/>
              <a:t>– ofte som del av </a:t>
            </a:r>
            <a:br>
              <a:rPr lang="nb-NO" sz="2600" dirty="0"/>
            </a:br>
            <a:r>
              <a:rPr lang="nb-NO" sz="2600" dirty="0" smtClean="0"/>
              <a:t>medarbeidersamtalen</a:t>
            </a:r>
          </a:p>
          <a:p>
            <a:pPr marL="457200" indent="-457200">
              <a:buClr>
                <a:srgbClr val="008000"/>
              </a:buClr>
              <a:buFont typeface="Arial" pitchFamily="34" charset="0"/>
              <a:buChar char="•"/>
            </a:pPr>
            <a:r>
              <a:rPr lang="nb-NO" sz="2600" dirty="0" smtClean="0"/>
              <a:t>Løsningsfokusert tilnærming</a:t>
            </a:r>
          </a:p>
          <a:p>
            <a:pPr marL="457200" indent="-457200">
              <a:buClr>
                <a:srgbClr val="008000"/>
              </a:buClr>
              <a:buFont typeface="Arial" pitchFamily="34" charset="0"/>
              <a:buChar char="•"/>
            </a:pPr>
            <a:r>
              <a:rPr lang="nb-NO" sz="2600" dirty="0" smtClean="0"/>
              <a:t>God </a:t>
            </a:r>
            <a:r>
              <a:rPr lang="nb-NO" sz="2600" dirty="0"/>
              <a:t>bakgrunn for felles refleksjon og utvikling</a:t>
            </a:r>
            <a:r>
              <a:rPr lang="nb-NO" sz="2400" dirty="0"/>
              <a:t/>
            </a:r>
            <a:br>
              <a:rPr lang="nb-NO" sz="2400" dirty="0"/>
            </a:br>
            <a:endParaRPr lang="nb-NO" sz="2400" dirty="0"/>
          </a:p>
          <a:p>
            <a:pPr>
              <a:buClr>
                <a:srgbClr val="008000"/>
              </a:buClr>
            </a:pPr>
            <a:endParaRPr lang="nb-NO" sz="2000" dirty="0" smtClean="0"/>
          </a:p>
          <a:p>
            <a:pPr>
              <a:buClr>
                <a:srgbClr val="008000"/>
              </a:buClr>
            </a:pPr>
            <a:endParaRPr lang="nb-NO" sz="3200" dirty="0" smtClean="0"/>
          </a:p>
          <a:p>
            <a:pPr marL="342900" indent="-342900">
              <a:buClr>
                <a:srgbClr val="008000"/>
              </a:buClr>
              <a:buFont typeface="Wingdings" pitchFamily="2" charset="2"/>
              <a:buChar char="v"/>
            </a:pPr>
            <a:endParaRPr lang="nb-NO" sz="3200" dirty="0" smtClean="0"/>
          </a:p>
        </p:txBody>
      </p:sp>
      <p:sp>
        <p:nvSpPr>
          <p:cNvPr id="6" name="Text Box 5"/>
          <p:cNvSpPr txBox="1">
            <a:spLocks noChangeArrowheads="1"/>
          </p:cNvSpPr>
          <p:nvPr/>
        </p:nvSpPr>
        <p:spPr bwMode="auto">
          <a:xfrm>
            <a:off x="4643438" y="152400"/>
            <a:ext cx="4500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pPr>
            <a:r>
              <a:rPr lang="nb-NO" sz="2400" b="1" dirty="0" smtClean="0">
                <a:solidFill>
                  <a:srgbClr val="606060"/>
                </a:solidFill>
                <a:latin typeface="Garamond" pitchFamily="18" charset="0"/>
              </a:rPr>
              <a:t>Bleiker videregående skole</a:t>
            </a:r>
            <a:endParaRPr lang="nb-NO" sz="2400" dirty="0">
              <a:solidFill>
                <a:srgbClr val="606060"/>
              </a:solidFill>
              <a:latin typeface="Garamond" pitchFamily="18" charset="0"/>
            </a:endParaRPr>
          </a:p>
        </p:txBody>
      </p:sp>
      <p:sp>
        <p:nvSpPr>
          <p:cNvPr id="2" name="TekstSylinder 1"/>
          <p:cNvSpPr txBox="1"/>
          <p:nvPr/>
        </p:nvSpPr>
        <p:spPr>
          <a:xfrm>
            <a:off x="1115616" y="908720"/>
            <a:ext cx="7344816" cy="584775"/>
          </a:xfrm>
          <a:prstGeom prst="rect">
            <a:avLst/>
          </a:prstGeom>
          <a:noFill/>
        </p:spPr>
        <p:txBody>
          <a:bodyPr wrap="square" rtlCol="0">
            <a:spAutoFit/>
          </a:bodyPr>
          <a:lstStyle/>
          <a:p>
            <a:r>
              <a:rPr lang="nb-NO" sz="3200" b="1" dirty="0" smtClean="0"/>
              <a:t>Avdelingsleder – pedagogisk ledelse</a:t>
            </a:r>
            <a:endParaRPr lang="nb-NO" sz="3200" b="1" dirty="0"/>
          </a:p>
        </p:txBody>
      </p:sp>
    </p:spTree>
    <p:extLst>
      <p:ext uri="{BB962C8B-B14F-4D97-AF65-F5344CB8AC3E}">
        <p14:creationId xmlns:p14="http://schemas.microsoft.com/office/powerpoint/2010/main" xmlns="" val="3389571949"/>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1"/>
          </p:nvPr>
        </p:nvSpPr>
        <p:spPr/>
        <p:txBody>
          <a:bodyPr/>
          <a:lstStyle/>
          <a:p>
            <a:pPr>
              <a:defRPr/>
            </a:pPr>
            <a:endParaRPr lang="en-GB"/>
          </a:p>
        </p:txBody>
      </p:sp>
      <p:sp>
        <p:nvSpPr>
          <p:cNvPr id="5" name="TekstSylinder 4"/>
          <p:cNvSpPr txBox="1"/>
          <p:nvPr/>
        </p:nvSpPr>
        <p:spPr>
          <a:xfrm>
            <a:off x="1403648" y="1700809"/>
            <a:ext cx="6840760" cy="6771664"/>
          </a:xfrm>
          <a:prstGeom prst="rect">
            <a:avLst/>
          </a:prstGeom>
          <a:noFill/>
        </p:spPr>
        <p:txBody>
          <a:bodyPr wrap="square" rtlCol="0">
            <a:spAutoFit/>
          </a:bodyPr>
          <a:lstStyle/>
          <a:p>
            <a:pPr marL="457200" indent="-457200">
              <a:buClr>
                <a:srgbClr val="008000"/>
              </a:buClr>
              <a:buFont typeface="Arial" pitchFamily="34" charset="0"/>
              <a:buChar char="•"/>
            </a:pPr>
            <a:r>
              <a:rPr lang="nb-NO" sz="2400" dirty="0"/>
              <a:t>Skolevandring (se lærer i aksjon – grunnlag for </a:t>
            </a:r>
            <a:r>
              <a:rPr lang="nb-NO" sz="2400" dirty="0" smtClean="0"/>
              <a:t>pedagogisk </a:t>
            </a:r>
            <a:r>
              <a:rPr lang="nb-NO" sz="2400" dirty="0"/>
              <a:t>utvikling</a:t>
            </a:r>
            <a:r>
              <a:rPr lang="nb-NO" sz="2400" dirty="0" smtClean="0"/>
              <a:t>)</a:t>
            </a:r>
          </a:p>
          <a:p>
            <a:pPr marL="457200" indent="-457200">
              <a:buClr>
                <a:srgbClr val="008000"/>
              </a:buClr>
              <a:buFont typeface="Arial" pitchFamily="34" charset="0"/>
              <a:buChar char="•"/>
            </a:pPr>
            <a:r>
              <a:rPr lang="nb-NO" sz="2400" dirty="0" smtClean="0"/>
              <a:t>Undervisningsevaluering </a:t>
            </a:r>
            <a:r>
              <a:rPr lang="nb-NO" sz="2400" dirty="0"/>
              <a:t>(elevers </a:t>
            </a:r>
            <a:br>
              <a:rPr lang="nb-NO" sz="2400" dirty="0"/>
            </a:br>
            <a:r>
              <a:rPr lang="nb-NO" sz="2400" dirty="0"/>
              <a:t>tilbakemeldinger om undervisning</a:t>
            </a:r>
            <a:r>
              <a:rPr lang="nb-NO" sz="2400" dirty="0" smtClean="0"/>
              <a:t>)</a:t>
            </a:r>
          </a:p>
          <a:p>
            <a:pPr marL="457200" indent="-457200">
              <a:buClr>
                <a:srgbClr val="008000"/>
              </a:buClr>
              <a:buFont typeface="Arial" pitchFamily="34" charset="0"/>
              <a:buChar char="•"/>
            </a:pPr>
            <a:r>
              <a:rPr lang="nb-NO" sz="2400" dirty="0" smtClean="0"/>
              <a:t>IKO-modellen </a:t>
            </a:r>
            <a:r>
              <a:rPr lang="nb-NO" sz="2400" dirty="0"/>
              <a:t>med underveisvurderinger (systematisk </a:t>
            </a:r>
            <a:r>
              <a:rPr lang="nb-NO" sz="2400" dirty="0" smtClean="0"/>
              <a:t>oppfølging </a:t>
            </a:r>
            <a:r>
              <a:rPr lang="nb-NO" sz="2400" dirty="0"/>
              <a:t>av elevers læring</a:t>
            </a:r>
            <a:r>
              <a:rPr lang="nb-NO" sz="2400" dirty="0" smtClean="0"/>
              <a:t>)</a:t>
            </a:r>
          </a:p>
          <a:p>
            <a:pPr marL="457200" indent="-457200">
              <a:buClr>
                <a:srgbClr val="008000"/>
              </a:buClr>
              <a:buFont typeface="Arial" pitchFamily="34" charset="0"/>
              <a:buChar char="•"/>
            </a:pPr>
            <a:r>
              <a:rPr lang="nb-NO" sz="2400" dirty="0" smtClean="0"/>
              <a:t>Elevundersøkelsen </a:t>
            </a:r>
            <a:r>
              <a:rPr lang="nb-NO" sz="2400" dirty="0"/>
              <a:t>(elevers tilbakemeldinger om </a:t>
            </a:r>
            <a:r>
              <a:rPr lang="nb-NO" sz="2400" dirty="0" smtClean="0"/>
              <a:t>mange </a:t>
            </a:r>
            <a:r>
              <a:rPr lang="nb-NO" sz="2400" dirty="0"/>
              <a:t>forhold, blant annet læringsmiljø) </a:t>
            </a:r>
            <a:endParaRPr lang="nb-NO" sz="2400" dirty="0" smtClean="0"/>
          </a:p>
          <a:p>
            <a:pPr marL="457200" indent="-457200">
              <a:buClr>
                <a:srgbClr val="008000"/>
              </a:buClr>
              <a:buFont typeface="Arial" pitchFamily="34" charset="0"/>
              <a:buChar char="•"/>
            </a:pPr>
            <a:r>
              <a:rPr lang="nb-NO" sz="2400" dirty="0" smtClean="0"/>
              <a:t>Regelmessige </a:t>
            </a:r>
            <a:r>
              <a:rPr lang="nb-NO" sz="2400" dirty="0"/>
              <a:t>klasseteam (oppsatte temaer </a:t>
            </a:r>
            <a:r>
              <a:rPr lang="nb-NO" sz="2400" dirty="0" smtClean="0"/>
              <a:t>gjennom året</a:t>
            </a:r>
            <a:r>
              <a:rPr lang="nb-NO" sz="2400" dirty="0"/>
              <a:t>, systematisk arbeid</a:t>
            </a:r>
            <a:r>
              <a:rPr lang="nb-NO" sz="2400" dirty="0" smtClean="0"/>
              <a:t>)</a:t>
            </a:r>
          </a:p>
          <a:p>
            <a:pPr marL="457200" indent="-457200">
              <a:buClr>
                <a:srgbClr val="008000"/>
              </a:buClr>
              <a:buFont typeface="Arial" pitchFamily="34" charset="0"/>
              <a:buChar char="•"/>
            </a:pPr>
            <a:r>
              <a:rPr lang="nb-NO" sz="2400" dirty="0" smtClean="0"/>
              <a:t>Intern </a:t>
            </a:r>
            <a:r>
              <a:rPr lang="nb-NO" sz="2400" dirty="0"/>
              <a:t>erfaringsdeling - delingskultur </a:t>
            </a:r>
            <a:endParaRPr lang="nb-NO" sz="2400" dirty="0" smtClean="0"/>
          </a:p>
          <a:p>
            <a:pPr marL="457200" indent="-457200">
              <a:buClr>
                <a:srgbClr val="008000"/>
              </a:buClr>
              <a:buFont typeface="Arial" pitchFamily="34" charset="0"/>
              <a:buChar char="•"/>
            </a:pPr>
            <a:r>
              <a:rPr lang="nb-NO" sz="2400" dirty="0" smtClean="0"/>
              <a:t>Pedagogisk </a:t>
            </a:r>
            <a:r>
              <a:rPr lang="nb-NO" sz="2400" dirty="0"/>
              <a:t>forum  - kompetanseløft</a:t>
            </a:r>
            <a:endParaRPr lang="nb-NO" sz="2400" dirty="0" smtClean="0"/>
          </a:p>
          <a:p>
            <a:pPr marL="457200" indent="-457200">
              <a:buClr>
                <a:srgbClr val="008000"/>
              </a:buClr>
              <a:buFont typeface="Arial" pitchFamily="34" charset="0"/>
              <a:buChar char="•"/>
            </a:pPr>
            <a:r>
              <a:rPr lang="nb-NO" sz="2400" dirty="0" smtClean="0"/>
              <a:t>God </a:t>
            </a:r>
            <a:r>
              <a:rPr lang="nb-NO" sz="2400" dirty="0"/>
              <a:t>bakgrunn for felles refleksjon og utvikling</a:t>
            </a:r>
            <a:br>
              <a:rPr lang="nb-NO" sz="2400" dirty="0"/>
            </a:br>
            <a:endParaRPr lang="nb-NO" sz="2400" dirty="0"/>
          </a:p>
          <a:p>
            <a:pPr>
              <a:buClr>
                <a:srgbClr val="008000"/>
              </a:buClr>
            </a:pPr>
            <a:endParaRPr lang="nb-NO" sz="2000" dirty="0" smtClean="0"/>
          </a:p>
          <a:p>
            <a:pPr>
              <a:buClr>
                <a:srgbClr val="008000"/>
              </a:buClr>
            </a:pPr>
            <a:endParaRPr lang="nb-NO" sz="3200" dirty="0" smtClean="0"/>
          </a:p>
          <a:p>
            <a:pPr marL="342900" indent="-342900">
              <a:buClr>
                <a:srgbClr val="008000"/>
              </a:buClr>
              <a:buFont typeface="Wingdings" pitchFamily="2" charset="2"/>
              <a:buChar char="v"/>
            </a:pPr>
            <a:endParaRPr lang="nb-NO" sz="3200" dirty="0" smtClean="0"/>
          </a:p>
        </p:txBody>
      </p:sp>
      <p:sp>
        <p:nvSpPr>
          <p:cNvPr id="6" name="Text Box 5"/>
          <p:cNvSpPr txBox="1">
            <a:spLocks noChangeArrowheads="1"/>
          </p:cNvSpPr>
          <p:nvPr/>
        </p:nvSpPr>
        <p:spPr bwMode="auto">
          <a:xfrm>
            <a:off x="4643438" y="152400"/>
            <a:ext cx="4500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pPr>
            <a:r>
              <a:rPr lang="nb-NO" sz="2400" b="1" dirty="0" smtClean="0">
                <a:solidFill>
                  <a:srgbClr val="606060"/>
                </a:solidFill>
                <a:latin typeface="Garamond" pitchFamily="18" charset="0"/>
              </a:rPr>
              <a:t>Bleiker videregående skole</a:t>
            </a:r>
            <a:endParaRPr lang="nb-NO" sz="2400" dirty="0">
              <a:solidFill>
                <a:srgbClr val="606060"/>
              </a:solidFill>
              <a:latin typeface="Garamond" pitchFamily="18" charset="0"/>
            </a:endParaRPr>
          </a:p>
        </p:txBody>
      </p:sp>
      <p:sp>
        <p:nvSpPr>
          <p:cNvPr id="2" name="TekstSylinder 1"/>
          <p:cNvSpPr txBox="1"/>
          <p:nvPr/>
        </p:nvSpPr>
        <p:spPr>
          <a:xfrm>
            <a:off x="1115616" y="908720"/>
            <a:ext cx="7344816" cy="584775"/>
          </a:xfrm>
          <a:prstGeom prst="rect">
            <a:avLst/>
          </a:prstGeom>
          <a:noFill/>
        </p:spPr>
        <p:txBody>
          <a:bodyPr wrap="square" rtlCol="0">
            <a:spAutoFit/>
          </a:bodyPr>
          <a:lstStyle/>
          <a:p>
            <a:r>
              <a:rPr lang="nb-NO" sz="3200" b="1" dirty="0" smtClean="0"/>
              <a:t>Avdelingsleder – pedagogisk ledelse</a:t>
            </a:r>
            <a:endParaRPr lang="nb-NO" sz="3200" b="1" dirty="0"/>
          </a:p>
        </p:txBody>
      </p:sp>
    </p:spTree>
    <p:extLst>
      <p:ext uri="{BB962C8B-B14F-4D97-AF65-F5344CB8AC3E}">
        <p14:creationId xmlns:p14="http://schemas.microsoft.com/office/powerpoint/2010/main" xmlns="" val="1507037883"/>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576263" y="2060575"/>
            <a:ext cx="8135937" cy="4392613"/>
          </a:xfrm>
        </p:spPr>
        <p:txBody>
          <a:bodyPr/>
          <a:lstStyle/>
          <a:p>
            <a:pPr eaLnBrk="1"/>
            <a:r>
              <a:rPr lang="nb-NO" sz="3200" b="1" dirty="0" smtClean="0"/>
              <a:t>Utfordringer</a:t>
            </a:r>
            <a:br>
              <a:rPr lang="nb-NO" sz="3200" b="1" dirty="0" smtClean="0"/>
            </a:br>
            <a:r>
              <a:rPr lang="nb-NO" sz="3200" dirty="0" smtClean="0"/>
              <a:t>Kontrollspennet på 20 – to avdelingsledere </a:t>
            </a:r>
            <a:br>
              <a:rPr lang="nb-NO" sz="3200" dirty="0" smtClean="0"/>
            </a:br>
            <a:r>
              <a:rPr lang="nb-NO" sz="3200" dirty="0" smtClean="0"/>
              <a:t>med over 30 personer </a:t>
            </a:r>
            <a:br>
              <a:rPr lang="nb-NO" sz="3200" dirty="0" smtClean="0"/>
            </a:br>
            <a:r>
              <a:rPr lang="nb-NO" sz="3200" dirty="0" smtClean="0"/>
              <a:t/>
            </a:r>
            <a:br>
              <a:rPr lang="nb-NO" sz="3200" dirty="0" smtClean="0"/>
            </a:br>
            <a:r>
              <a:rPr lang="nb-NO" sz="3200" dirty="0" smtClean="0"/>
              <a:t>Fellesfag – pr. i dag 32 personer </a:t>
            </a:r>
            <a:r>
              <a:rPr lang="nb-NO" sz="3200" b="1" dirty="0" smtClean="0"/>
              <a:t/>
            </a:r>
            <a:br>
              <a:rPr lang="nb-NO" sz="3200" b="1" dirty="0" smtClean="0"/>
            </a:br>
            <a:r>
              <a:rPr lang="nb-NO" sz="3200" dirty="0" smtClean="0"/>
              <a:t/>
            </a:r>
            <a:br>
              <a:rPr lang="nb-NO" sz="3200" dirty="0" smtClean="0"/>
            </a:br>
            <a:r>
              <a:rPr lang="nb-NO" sz="3200" dirty="0" smtClean="0"/>
              <a:t/>
            </a:r>
            <a:br>
              <a:rPr lang="nb-NO" sz="3200" dirty="0" smtClean="0"/>
            </a:br>
            <a:r>
              <a:rPr lang="nb-NO" sz="3200" dirty="0" smtClean="0"/>
              <a:t/>
            </a:r>
            <a:br>
              <a:rPr lang="nb-NO" sz="3200" dirty="0" smtClean="0"/>
            </a:br>
            <a:endParaRPr lang="nb-NO" sz="3200" dirty="0" smtClean="0"/>
          </a:p>
        </p:txBody>
      </p:sp>
      <p:sp>
        <p:nvSpPr>
          <p:cNvPr id="35843" name="Footer Placeholder 3"/>
          <p:cNvSpPr>
            <a:spLocks noGrp="1"/>
          </p:cNvSpPr>
          <p:nvPr>
            <p:ph type="ftr" sz="quarter" idx="1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GB" smtClean="0">
              <a:solidFill>
                <a:srgbClr val="FFFFFF"/>
              </a:solidFill>
            </a:endParaRPr>
          </a:p>
        </p:txBody>
      </p:sp>
      <p:sp>
        <p:nvSpPr>
          <p:cNvPr id="35844" name="Text Box 5"/>
          <p:cNvSpPr txBox="1">
            <a:spLocks noChangeArrowheads="1"/>
          </p:cNvSpPr>
          <p:nvPr/>
        </p:nvSpPr>
        <p:spPr bwMode="auto">
          <a:xfrm>
            <a:off x="4643438" y="152400"/>
            <a:ext cx="4500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nb-NO" sz="2400" b="1">
                <a:solidFill>
                  <a:srgbClr val="606060"/>
                </a:solidFill>
                <a:latin typeface="Garamond" pitchFamily="18" charset="0"/>
              </a:rPr>
              <a:t>Bleiker videregående skole</a:t>
            </a:r>
            <a:endParaRPr lang="nb-NO" sz="2400">
              <a:solidFill>
                <a:srgbClr val="606060"/>
              </a:solidFill>
              <a:latin typeface="Garamond" pitchFamily="18" charset="0"/>
            </a:endParaRPr>
          </a:p>
        </p:txBody>
      </p:sp>
      <p:sp>
        <p:nvSpPr>
          <p:cNvPr id="35845" name="Rektangel 2"/>
          <p:cNvSpPr>
            <a:spLocks noChangeArrowheads="1"/>
          </p:cNvSpPr>
          <p:nvPr/>
        </p:nvSpPr>
        <p:spPr bwMode="auto">
          <a:xfrm>
            <a:off x="1258888" y="981075"/>
            <a:ext cx="6842125" cy="862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endParaRPr lang="nb-NO" sz="3200" b="1">
              <a:solidFill>
                <a:srgbClr val="000000"/>
              </a:solidFill>
            </a:endParaRPr>
          </a:p>
          <a:p>
            <a:pPr>
              <a:buFont typeface="Arial" charset="0"/>
              <a:buChar char="•"/>
            </a:pPr>
            <a:endParaRPr lang="nb-NO">
              <a:solidFill>
                <a:srgbClr val="297FD5"/>
              </a:solidFill>
            </a:endParaRPr>
          </a:p>
        </p:txBody>
      </p:sp>
      <p:sp>
        <p:nvSpPr>
          <p:cNvPr id="35846" name="TekstSylinder 3"/>
          <p:cNvSpPr txBox="1">
            <a:spLocks noChangeArrowheads="1"/>
          </p:cNvSpPr>
          <p:nvPr/>
        </p:nvSpPr>
        <p:spPr bwMode="auto">
          <a:xfrm>
            <a:off x="1187450" y="765175"/>
            <a:ext cx="7344990"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3200" b="1" dirty="0">
                <a:solidFill>
                  <a:srgbClr val="000000"/>
                </a:solidFill>
              </a:rPr>
              <a:t>Avdelingsleder – pedagogisk ledelse</a:t>
            </a:r>
          </a:p>
        </p:txBody>
      </p:sp>
    </p:spTree>
    <p:extLst>
      <p:ext uri="{BB962C8B-B14F-4D97-AF65-F5344CB8AC3E}">
        <p14:creationId xmlns:p14="http://schemas.microsoft.com/office/powerpoint/2010/main" xmlns="" val="386455326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1"/>
          </p:nvPr>
        </p:nvSpPr>
        <p:spPr/>
        <p:txBody>
          <a:bodyPr/>
          <a:lstStyle/>
          <a:p>
            <a:pPr>
              <a:defRPr/>
            </a:pPr>
            <a:endParaRPr lang="en-GB"/>
          </a:p>
        </p:txBody>
      </p:sp>
      <p:sp>
        <p:nvSpPr>
          <p:cNvPr id="5" name="TekstSylinder 4"/>
          <p:cNvSpPr txBox="1"/>
          <p:nvPr/>
        </p:nvSpPr>
        <p:spPr>
          <a:xfrm>
            <a:off x="1115616" y="2060848"/>
            <a:ext cx="7488832" cy="5509200"/>
          </a:xfrm>
          <a:prstGeom prst="rect">
            <a:avLst/>
          </a:prstGeom>
          <a:noFill/>
        </p:spPr>
        <p:txBody>
          <a:bodyPr wrap="square" rtlCol="0">
            <a:spAutoFit/>
          </a:bodyPr>
          <a:lstStyle/>
          <a:p>
            <a:pPr marL="457200" indent="-457200">
              <a:buClr>
                <a:srgbClr val="008000"/>
              </a:buClr>
              <a:buFont typeface="Arial" pitchFamily="34" charset="0"/>
              <a:buChar char="•"/>
            </a:pPr>
            <a:r>
              <a:rPr lang="nb-NO" sz="3200" dirty="0" smtClean="0"/>
              <a:t>Etterleve intensjonene om å frigjøre tid til pedagogisk ledelse</a:t>
            </a:r>
          </a:p>
          <a:p>
            <a:pPr marL="457200" indent="-457200">
              <a:buClr>
                <a:srgbClr val="008000"/>
              </a:buClr>
              <a:buFont typeface="Arial" pitchFamily="34" charset="0"/>
              <a:buChar char="•"/>
            </a:pPr>
            <a:r>
              <a:rPr lang="nb-NO" sz="3200" dirty="0" smtClean="0"/>
              <a:t>Effektivisere de administrative støtteoppgavene / tilsette </a:t>
            </a:r>
            <a:r>
              <a:rPr lang="nb-NO" sz="3200" dirty="0" err="1" smtClean="0"/>
              <a:t>adm.leder</a:t>
            </a:r>
            <a:endParaRPr lang="nb-NO" sz="3200" dirty="0" smtClean="0"/>
          </a:p>
          <a:p>
            <a:pPr marL="457200" indent="-457200">
              <a:buClr>
                <a:srgbClr val="008000"/>
              </a:buClr>
              <a:buFont typeface="Arial" pitchFamily="34" charset="0"/>
              <a:buChar char="•"/>
            </a:pPr>
            <a:r>
              <a:rPr lang="nb-NO" sz="3200" dirty="0" smtClean="0"/>
              <a:t>Forbedre arbeidet med de pedagogiske støtteoppgavene, evt. tilsette studieleder</a:t>
            </a:r>
          </a:p>
          <a:p>
            <a:pPr marL="457200" indent="-457200">
              <a:buClr>
                <a:srgbClr val="008000"/>
              </a:buClr>
              <a:buFont typeface="Arial" pitchFamily="34" charset="0"/>
              <a:buChar char="•"/>
            </a:pPr>
            <a:r>
              <a:rPr lang="nb-NO" sz="3200" dirty="0" smtClean="0"/>
              <a:t>Kanskje aller viktigst med bevissthet i organisasjonen rundt elevenes læring</a:t>
            </a:r>
            <a:endParaRPr lang="nb-NO" sz="2000" dirty="0" smtClean="0"/>
          </a:p>
          <a:p>
            <a:pPr>
              <a:buClr>
                <a:srgbClr val="008000"/>
              </a:buClr>
            </a:pPr>
            <a:endParaRPr lang="nb-NO" sz="3200" dirty="0" smtClean="0"/>
          </a:p>
          <a:p>
            <a:pPr marL="342900" indent="-342900">
              <a:buClr>
                <a:srgbClr val="008000"/>
              </a:buClr>
              <a:buFont typeface="Wingdings" pitchFamily="2" charset="2"/>
              <a:buChar char="v"/>
            </a:pPr>
            <a:endParaRPr lang="nb-NO" sz="3200" dirty="0" smtClean="0"/>
          </a:p>
        </p:txBody>
      </p:sp>
      <p:sp>
        <p:nvSpPr>
          <p:cNvPr id="6" name="Text Box 5"/>
          <p:cNvSpPr txBox="1">
            <a:spLocks noChangeArrowheads="1"/>
          </p:cNvSpPr>
          <p:nvPr/>
        </p:nvSpPr>
        <p:spPr bwMode="auto">
          <a:xfrm>
            <a:off x="4643438" y="152400"/>
            <a:ext cx="4500562"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pPr>
            <a:r>
              <a:rPr lang="nb-NO" sz="2400" b="1" dirty="0" smtClean="0">
                <a:solidFill>
                  <a:srgbClr val="606060"/>
                </a:solidFill>
                <a:latin typeface="Garamond" pitchFamily="18" charset="0"/>
              </a:rPr>
              <a:t>Bleiker videregående skole</a:t>
            </a:r>
            <a:endParaRPr lang="nb-NO" sz="2400" dirty="0">
              <a:solidFill>
                <a:srgbClr val="606060"/>
              </a:solidFill>
              <a:latin typeface="Garamond" pitchFamily="18" charset="0"/>
            </a:endParaRPr>
          </a:p>
        </p:txBody>
      </p:sp>
      <p:sp>
        <p:nvSpPr>
          <p:cNvPr id="2" name="TekstSylinder 1"/>
          <p:cNvSpPr txBox="1"/>
          <p:nvPr/>
        </p:nvSpPr>
        <p:spPr>
          <a:xfrm>
            <a:off x="1259632" y="908720"/>
            <a:ext cx="7128792" cy="1077218"/>
          </a:xfrm>
          <a:prstGeom prst="rect">
            <a:avLst/>
          </a:prstGeom>
          <a:noFill/>
        </p:spPr>
        <p:txBody>
          <a:bodyPr wrap="square" rtlCol="0">
            <a:spAutoFit/>
          </a:bodyPr>
          <a:lstStyle/>
          <a:p>
            <a:r>
              <a:rPr lang="nb-NO" sz="3200" b="1" dirty="0" smtClean="0"/>
              <a:t>Videre oppfølging av «Mer tid til det som gjelder»</a:t>
            </a:r>
            <a:endParaRPr lang="nb-NO" sz="3200" b="1" dirty="0"/>
          </a:p>
        </p:txBody>
      </p:sp>
    </p:spTree>
    <p:extLst>
      <p:ext uri="{BB962C8B-B14F-4D97-AF65-F5344CB8AC3E}">
        <p14:creationId xmlns:p14="http://schemas.microsoft.com/office/powerpoint/2010/main" xmlns="" val="272502259"/>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tel 1"/>
          <p:cNvSpPr>
            <a:spLocks noGrp="1"/>
          </p:cNvSpPr>
          <p:nvPr>
            <p:ph type="title"/>
          </p:nvPr>
        </p:nvSpPr>
        <p:spPr>
          <a:xfrm>
            <a:off x="250825" y="0"/>
            <a:ext cx="8229600" cy="1143000"/>
          </a:xfrm>
        </p:spPr>
        <p:txBody>
          <a:bodyPr/>
          <a:lstStyle/>
          <a:p>
            <a:pPr eaLnBrk="1" hangingPunct="1"/>
            <a:r>
              <a:rPr lang="nb-NO" sz="3200" dirty="0" smtClean="0"/>
              <a:t/>
            </a:r>
            <a:br>
              <a:rPr lang="nb-NO" sz="3200" dirty="0" smtClean="0"/>
            </a:br>
            <a:r>
              <a:rPr lang="nb-NO" sz="3200" dirty="0" smtClean="0"/>
              <a:t/>
            </a:r>
            <a:br>
              <a:rPr lang="nb-NO" sz="3200" dirty="0" smtClean="0"/>
            </a:br>
            <a:r>
              <a:rPr lang="nb-NO" sz="3200" dirty="0" smtClean="0"/>
              <a:t>Skolelederrollen i endring </a:t>
            </a:r>
          </a:p>
        </p:txBody>
      </p:sp>
      <p:sp>
        <p:nvSpPr>
          <p:cNvPr id="4099" name="Plassholder for innhold 2"/>
          <p:cNvSpPr>
            <a:spLocks noGrp="1"/>
          </p:cNvSpPr>
          <p:nvPr>
            <p:ph idx="1"/>
          </p:nvPr>
        </p:nvSpPr>
        <p:spPr>
          <a:xfrm>
            <a:off x="539750" y="981075"/>
            <a:ext cx="8301038" cy="5318125"/>
          </a:xfrm>
        </p:spPr>
        <p:txBody>
          <a:bodyPr/>
          <a:lstStyle/>
          <a:p>
            <a:pPr eaLnBrk="1" hangingPunct="1"/>
            <a:endParaRPr lang="nb-NO" sz="2400" dirty="0" smtClean="0"/>
          </a:p>
          <a:p>
            <a:pPr eaLnBrk="1" hangingPunct="1"/>
            <a:endParaRPr lang="nb-NO" dirty="0"/>
          </a:p>
          <a:p>
            <a:pPr eaLnBrk="1" hangingPunct="1"/>
            <a:r>
              <a:rPr lang="nb-NO" sz="2400" dirty="0" smtClean="0"/>
              <a:t>Det er ”allment anerkjent” at god skoleledelse er avgjørende for arbeidet med kvalitetsutvikling i skolen, jfr. for eksempel Stortingsmelding 30, 2003-2004</a:t>
            </a:r>
          </a:p>
          <a:p>
            <a:pPr eaLnBrk="1" hangingPunct="1"/>
            <a:r>
              <a:rPr lang="nb-NO" sz="2400" dirty="0" smtClean="0"/>
              <a:t>Skolene har i mange år opplevd en sterk desentralisering av arbeidsoppgaver. Ressurser til å utføre de nye oppgavene har i mindre grad fulgt med. Spesielt er tid til pedagogisk ledelse blitt etterspurt</a:t>
            </a:r>
          </a:p>
        </p:txBody>
      </p:sp>
    </p:spTree>
    <p:extLst>
      <p:ext uri="{BB962C8B-B14F-4D97-AF65-F5344CB8AC3E}">
        <p14:creationId xmlns:p14="http://schemas.microsoft.com/office/powerpoint/2010/main" xmlns="" val="1266212362"/>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tel 1"/>
          <p:cNvSpPr>
            <a:spLocks noGrp="1"/>
          </p:cNvSpPr>
          <p:nvPr>
            <p:ph type="title"/>
          </p:nvPr>
        </p:nvSpPr>
        <p:spPr>
          <a:xfrm>
            <a:off x="179513" y="764704"/>
            <a:ext cx="8300912" cy="936104"/>
          </a:xfrm>
        </p:spPr>
        <p:txBody>
          <a:bodyPr/>
          <a:lstStyle/>
          <a:p>
            <a:pPr eaLnBrk="1" hangingPunct="1"/>
            <a:r>
              <a:rPr lang="nb-NO" sz="3200" dirty="0" smtClean="0"/>
              <a:t/>
            </a:r>
            <a:br>
              <a:rPr lang="nb-NO" sz="3200" dirty="0" smtClean="0"/>
            </a:br>
            <a:r>
              <a:rPr lang="nb-NO" sz="3200" dirty="0" smtClean="0"/>
              <a:t>Skolelederrollen i endring forts.</a:t>
            </a:r>
            <a:r>
              <a:rPr lang="nb-NO" sz="3200" dirty="0"/>
              <a:t/>
            </a:r>
            <a:br>
              <a:rPr lang="nb-NO" sz="3200" dirty="0"/>
            </a:br>
            <a:endParaRPr lang="nb-NO" sz="3200" dirty="0" smtClean="0"/>
          </a:p>
        </p:txBody>
      </p:sp>
      <p:sp>
        <p:nvSpPr>
          <p:cNvPr id="4099" name="Plassholder for innhold 2"/>
          <p:cNvSpPr>
            <a:spLocks noGrp="1"/>
          </p:cNvSpPr>
          <p:nvPr>
            <p:ph idx="1"/>
          </p:nvPr>
        </p:nvSpPr>
        <p:spPr>
          <a:xfrm>
            <a:off x="467544" y="1700808"/>
            <a:ext cx="8373244" cy="4598392"/>
          </a:xfrm>
        </p:spPr>
        <p:txBody>
          <a:bodyPr/>
          <a:lstStyle/>
          <a:p>
            <a:pPr marL="0" indent="0" eaLnBrk="1" hangingPunct="1">
              <a:buNone/>
            </a:pPr>
            <a:endParaRPr lang="nb-NO" sz="2400" dirty="0" smtClean="0"/>
          </a:p>
          <a:p>
            <a:pPr eaLnBrk="1" hangingPunct="1"/>
            <a:r>
              <a:rPr lang="nb-NO" sz="2400" dirty="0" smtClean="0"/>
              <a:t>Sentraladministrasjonen i Akershus  fylkeskommune så denne situasjonen og ønsket innsyn og endringer</a:t>
            </a:r>
          </a:p>
          <a:p>
            <a:pPr eaLnBrk="1" hangingPunct="1"/>
            <a:r>
              <a:rPr lang="nb-NO" sz="2400" dirty="0" smtClean="0"/>
              <a:t>Rektorene ved de videregående skolene i Akershus henvendte seg til fylkesrådmannen i februar 2011 for å sette fokus nettopp på forholdet mellom arbeidsoppgaver og pedagogisk ledelse</a:t>
            </a:r>
          </a:p>
          <a:p>
            <a:pPr eaLnBrk="1" hangingPunct="1"/>
            <a:r>
              <a:rPr lang="nb-NO" sz="2400" dirty="0" smtClean="0"/>
              <a:t>Arbeidet med rapporten «Mer tid til det som gjelder» ble satt i gang</a:t>
            </a:r>
          </a:p>
        </p:txBody>
      </p:sp>
    </p:spTree>
    <p:extLst>
      <p:ext uri="{BB962C8B-B14F-4D97-AF65-F5344CB8AC3E}">
        <p14:creationId xmlns:p14="http://schemas.microsoft.com/office/powerpoint/2010/main" xmlns="" val="3383632207"/>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tel 17"/>
          <p:cNvSpPr>
            <a:spLocks noGrp="1"/>
          </p:cNvSpPr>
          <p:nvPr>
            <p:ph type="title" idx="4294967295"/>
          </p:nvPr>
        </p:nvSpPr>
        <p:spPr>
          <a:xfrm>
            <a:off x="539750" y="332656"/>
            <a:ext cx="7560643" cy="1440160"/>
          </a:xfrm>
        </p:spPr>
        <p:txBody>
          <a:bodyPr/>
          <a:lstStyle/>
          <a:p>
            <a:pPr eaLnBrk="1" hangingPunct="1"/>
            <a:r>
              <a:rPr lang="nb-NO" sz="2800" dirty="0" smtClean="0"/>
              <a:t/>
            </a:r>
            <a:br>
              <a:rPr lang="nb-NO" sz="2800" dirty="0" smtClean="0"/>
            </a:br>
            <a:r>
              <a:rPr lang="nb-NO" sz="2800" dirty="0" smtClean="0"/>
              <a:t>Akershus fylkeskommune har satt kvalitetsmål </a:t>
            </a:r>
            <a:br>
              <a:rPr lang="nb-NO" sz="2800" dirty="0" smtClean="0"/>
            </a:br>
            <a:r>
              <a:rPr lang="nb-NO" sz="2800" dirty="0" smtClean="0"/>
              <a:t>for å styrke skolen og kunnskapsutviklingen</a:t>
            </a:r>
          </a:p>
        </p:txBody>
      </p:sp>
      <p:sp>
        <p:nvSpPr>
          <p:cNvPr id="3" name="Plassholder for bunntekst 2"/>
          <p:cNvSpPr txBox="1">
            <a:spLocks noGrp="1"/>
          </p:cNvSpPr>
          <p:nvPr/>
        </p:nvSpPr>
        <p:spPr>
          <a:xfrm>
            <a:off x="0" y="0"/>
            <a:ext cx="0" cy="0"/>
          </a:xfrm>
          <a:prstGeom prst="rect">
            <a:avLst/>
          </a:prstGeom>
          <a:noFill/>
        </p:spPr>
        <p:txBody>
          <a:bodyPr anchor="ctr"/>
          <a:lstStyle/>
          <a:p>
            <a:pPr algn="ctr" fontAlgn="auto">
              <a:spcBef>
                <a:spcPts val="0"/>
              </a:spcBef>
              <a:spcAft>
                <a:spcPts val="0"/>
              </a:spcAft>
              <a:defRPr/>
            </a:pPr>
            <a:endParaRPr lang="nb-NO" sz="1200" dirty="0">
              <a:solidFill>
                <a:schemeClr val="tx1">
                  <a:tint val="75000"/>
                </a:schemeClr>
              </a:solidFill>
              <a:latin typeface="+mn-lt"/>
            </a:endParaRPr>
          </a:p>
        </p:txBody>
      </p:sp>
      <p:sp>
        <p:nvSpPr>
          <p:cNvPr id="5124" name="TekstSylinder 3"/>
          <p:cNvSpPr txBox="1">
            <a:spLocks noChangeArrowheads="1"/>
          </p:cNvSpPr>
          <p:nvPr/>
        </p:nvSpPr>
        <p:spPr bwMode="auto">
          <a:xfrm>
            <a:off x="539750" y="1484313"/>
            <a:ext cx="6935788" cy="21236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nb-NO" sz="1200" dirty="0" smtClean="0">
              <a:latin typeface="Calibri" pitchFamily="34" charset="0"/>
            </a:endParaRPr>
          </a:p>
          <a:p>
            <a:pPr eaLnBrk="1" hangingPunct="1"/>
            <a:r>
              <a:rPr lang="nb-NO" sz="1200" dirty="0" smtClean="0">
                <a:latin typeface="Calibri" pitchFamily="34" charset="0"/>
              </a:rPr>
              <a:t>Akershus </a:t>
            </a:r>
            <a:r>
              <a:rPr lang="nb-NO" sz="1200" dirty="0">
                <a:latin typeface="Calibri" pitchFamily="34" charset="0"/>
              </a:rPr>
              <a:t>fylkeskommune har satt sine delmål i prosessen for å styrke skolen som en lærende organisasjon. Økonomiplanen for 2012 – 2015 har blant annet som et resultatkrav at andelen elever som fullfører og består videregående skole, skal økes fra 79,3 prosent til 81 prosent. Et kvalitetsmål for samme periode er at opplæringen skal gjennomføres slik at den enkelte elev/lærling lærer i forhold til egne forutsetninger og slik oppnår målet om relevant sluttkompetanse. For bedre å lykkes med å nå disse målene har fylkesrådmannen ønsket å se nærmere på hvordan skolene kan øke ressursene til pedagogisk ledelse og til skolens kjernevirksomhet, som er elevens faglige og sosiale læring. Gjennom kunnskapsformidling i skolen skal den enkelte elev/lærling oppnå faglig og sosial læring, oppleve mestring og få utviklet sitt potensiale. Begrepene «pedagogisk ledelse» og «skolens kjernevirksomhet» kan illustreres ved hjelp av følgende modell:</a:t>
            </a:r>
          </a:p>
          <a:p>
            <a:pPr eaLnBrk="1" hangingPunct="1"/>
            <a:endParaRPr lang="nb-NO" sz="1200" dirty="0">
              <a:latin typeface="Calibri" pitchFamily="34" charset="0"/>
            </a:endParaRPr>
          </a:p>
        </p:txBody>
      </p:sp>
      <p:grpSp>
        <p:nvGrpSpPr>
          <p:cNvPr id="5125" name="Gruppe 1"/>
          <p:cNvGrpSpPr>
            <a:grpSpLocks/>
          </p:cNvGrpSpPr>
          <p:nvPr/>
        </p:nvGrpSpPr>
        <p:grpSpPr bwMode="auto">
          <a:xfrm>
            <a:off x="401638" y="3141663"/>
            <a:ext cx="8350250" cy="3382962"/>
            <a:chOff x="261048" y="2636912"/>
            <a:chExt cx="8350254" cy="3383756"/>
          </a:xfrm>
        </p:grpSpPr>
        <p:sp>
          <p:nvSpPr>
            <p:cNvPr id="5" name="Femkant 4"/>
            <p:cNvSpPr/>
            <p:nvPr/>
          </p:nvSpPr>
          <p:spPr>
            <a:xfrm>
              <a:off x="1188148" y="4648746"/>
              <a:ext cx="6064253" cy="595453"/>
            </a:xfrm>
            <a:prstGeom prst="homePlat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fontAlgn="auto">
                <a:spcBef>
                  <a:spcPts val="0"/>
                </a:spcBef>
                <a:spcAft>
                  <a:spcPts val="0"/>
                </a:spcAft>
                <a:defRPr/>
              </a:pPr>
              <a:r>
                <a:rPr lang="sv-SE" sz="1200" b="1" dirty="0">
                  <a:solidFill>
                    <a:schemeClr val="bg1"/>
                  </a:solidFill>
                </a:rPr>
                <a:t>Faglig og sosial kunnskapsformidling</a:t>
              </a:r>
              <a:br>
                <a:rPr lang="sv-SE" sz="1200" b="1" dirty="0">
                  <a:solidFill>
                    <a:schemeClr val="bg1"/>
                  </a:solidFill>
                </a:rPr>
              </a:br>
              <a:r>
                <a:rPr lang="sv-SE" sz="1200" b="1" dirty="0">
                  <a:solidFill>
                    <a:schemeClr val="bg1"/>
                  </a:solidFill>
                </a:rPr>
                <a:t>(lærere)</a:t>
              </a:r>
            </a:p>
          </p:txBody>
        </p:sp>
        <p:sp>
          <p:nvSpPr>
            <p:cNvPr id="6" name="TekstSylinder 15"/>
            <p:cNvSpPr txBox="1">
              <a:spLocks noChangeArrowheads="1"/>
            </p:cNvSpPr>
            <p:nvPr/>
          </p:nvSpPr>
          <p:spPr bwMode="auto">
            <a:xfrm rot="10800000" flipV="1">
              <a:off x="261048" y="4526480"/>
              <a:ext cx="922337" cy="774882"/>
            </a:xfrm>
            <a:prstGeom prst="rect">
              <a:avLst/>
            </a:prstGeom>
            <a:noFill/>
            <a:ln>
              <a:noFill/>
            </a:ln>
            <a:extLst/>
          </p:spPr>
          <p:txBody>
            <a:bodyPr lIns="91429" tIns="45715" rIns="91429" bIns="45715">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fontAlgn="auto" hangingPunct="1">
                <a:spcBef>
                  <a:spcPts val="0"/>
                </a:spcBef>
                <a:spcAft>
                  <a:spcPts val="0"/>
                </a:spcAft>
                <a:defRPr/>
              </a:pPr>
              <a:r>
                <a:rPr lang="sv-SE" sz="1000" dirty="0">
                  <a:latin typeface="+mn-lt"/>
                </a:rPr>
                <a:t/>
              </a:r>
              <a:br>
                <a:rPr lang="sv-SE" sz="1000" dirty="0">
                  <a:latin typeface="+mn-lt"/>
                </a:rPr>
              </a:br>
              <a:r>
                <a:rPr lang="sv-SE" sz="1100" dirty="0">
                  <a:latin typeface="+mn-lt"/>
                </a:rPr>
                <a:t>Skolens</a:t>
              </a:r>
            </a:p>
            <a:p>
              <a:pPr eaLnBrk="1" fontAlgn="auto" hangingPunct="1">
                <a:spcBef>
                  <a:spcPts val="0"/>
                </a:spcBef>
                <a:spcAft>
                  <a:spcPts val="0"/>
                </a:spcAft>
                <a:defRPr/>
              </a:pPr>
              <a:r>
                <a:rPr lang="sv-SE" sz="1100" dirty="0">
                  <a:latin typeface="+mn-lt"/>
                </a:rPr>
                <a:t>kjerne-</a:t>
              </a:r>
            </a:p>
            <a:p>
              <a:pPr eaLnBrk="1" fontAlgn="auto" hangingPunct="1">
                <a:spcBef>
                  <a:spcPts val="0"/>
                </a:spcBef>
                <a:spcAft>
                  <a:spcPts val="0"/>
                </a:spcAft>
                <a:defRPr/>
              </a:pPr>
              <a:r>
                <a:rPr lang="sv-SE" sz="1100" dirty="0">
                  <a:latin typeface="+mn-lt"/>
                </a:rPr>
                <a:t>virksomhe</a:t>
              </a:r>
              <a:r>
                <a:rPr lang="sv-SE" sz="1000" dirty="0">
                  <a:latin typeface="+mn-lt"/>
                </a:rPr>
                <a:t>t</a:t>
              </a:r>
            </a:p>
          </p:txBody>
        </p:sp>
        <p:sp>
          <p:nvSpPr>
            <p:cNvPr id="7" name="Sky 6"/>
            <p:cNvSpPr/>
            <p:nvPr/>
          </p:nvSpPr>
          <p:spPr>
            <a:xfrm>
              <a:off x="6588826" y="2636912"/>
              <a:ext cx="2022476" cy="1079753"/>
            </a:xfrm>
            <a:prstGeom prst="clou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fontAlgn="auto">
                <a:spcBef>
                  <a:spcPts val="0"/>
                </a:spcBef>
                <a:spcAft>
                  <a:spcPts val="0"/>
                </a:spcAft>
                <a:defRPr/>
              </a:pPr>
              <a:r>
                <a:rPr lang="sv-SE" sz="1100" dirty="0">
                  <a:solidFill>
                    <a:schemeClr val="tx1"/>
                  </a:solidFill>
                </a:rPr>
                <a:t>Faglig og sosial læring </a:t>
              </a:r>
              <a:br>
                <a:rPr lang="sv-SE" sz="1100" dirty="0">
                  <a:solidFill>
                    <a:schemeClr val="tx1"/>
                  </a:solidFill>
                </a:rPr>
              </a:br>
              <a:r>
                <a:rPr lang="sv-SE" sz="1100" dirty="0">
                  <a:solidFill>
                    <a:schemeClr val="tx1"/>
                  </a:solidFill>
                </a:rPr>
                <a:t>Mestring</a:t>
              </a:r>
              <a:br>
                <a:rPr lang="sv-SE" sz="1100" dirty="0">
                  <a:solidFill>
                    <a:schemeClr val="tx1"/>
                  </a:solidFill>
                </a:rPr>
              </a:br>
              <a:r>
                <a:rPr lang="sv-SE" sz="1100" dirty="0">
                  <a:solidFill>
                    <a:schemeClr val="tx1"/>
                  </a:solidFill>
                </a:rPr>
                <a:t>Utnytte potensiale</a:t>
              </a:r>
            </a:p>
          </p:txBody>
        </p:sp>
        <p:pic>
          <p:nvPicPr>
            <p:cNvPr id="5129"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367105" y="4348327"/>
              <a:ext cx="805295" cy="11328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Pil opp 8"/>
            <p:cNvSpPr/>
            <p:nvPr/>
          </p:nvSpPr>
          <p:spPr>
            <a:xfrm>
              <a:off x="7380988" y="3738896"/>
              <a:ext cx="400050" cy="554167"/>
            </a:xfrm>
            <a:prstGeom prst="upArrow">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anchor="ctr"/>
            <a:lstStyle/>
            <a:p>
              <a:pPr algn="ctr" fontAlgn="auto">
                <a:spcBef>
                  <a:spcPts val="0"/>
                </a:spcBef>
                <a:spcAft>
                  <a:spcPts val="0"/>
                </a:spcAft>
                <a:defRPr/>
              </a:pPr>
              <a:endParaRPr lang="nb-NO"/>
            </a:p>
          </p:txBody>
        </p:sp>
        <p:sp>
          <p:nvSpPr>
            <p:cNvPr id="5131" name="TekstSylinder 9"/>
            <p:cNvSpPr txBox="1">
              <a:spLocks noChangeArrowheads="1"/>
            </p:cNvSpPr>
            <p:nvPr/>
          </p:nvSpPr>
          <p:spPr bwMode="auto">
            <a:xfrm>
              <a:off x="1343533" y="3892366"/>
              <a:ext cx="1426994" cy="378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sv-SE" sz="1000">
                  <a:latin typeface="Calibri" pitchFamily="34" charset="0"/>
                </a:rPr>
                <a:t>Administrativ ledelse/ </a:t>
              </a:r>
            </a:p>
            <a:p>
              <a:pPr algn="ctr" eaLnBrk="1" hangingPunct="1"/>
              <a:r>
                <a:rPr lang="sv-SE" sz="1000">
                  <a:latin typeface="Calibri" pitchFamily="34" charset="0"/>
                </a:rPr>
                <a:t>driftsledelse</a:t>
              </a:r>
            </a:p>
            <a:p>
              <a:pPr algn="ctr" eaLnBrk="1" hangingPunct="1"/>
              <a:endParaRPr lang="nb-NO" sz="1000">
                <a:latin typeface="Calibri" pitchFamily="34" charset="0"/>
              </a:endParaRPr>
            </a:p>
          </p:txBody>
        </p:sp>
        <p:sp>
          <p:nvSpPr>
            <p:cNvPr id="5132" name="TekstSylinder 10"/>
            <p:cNvSpPr txBox="1">
              <a:spLocks noChangeArrowheads="1"/>
            </p:cNvSpPr>
            <p:nvPr/>
          </p:nvSpPr>
          <p:spPr bwMode="auto">
            <a:xfrm>
              <a:off x="3592072" y="3892366"/>
              <a:ext cx="849912"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sv-SE" sz="1000">
                  <a:latin typeface="Calibri" pitchFamily="34" charset="0"/>
                </a:rPr>
                <a:t>Pedagogisk</a:t>
              </a:r>
              <a:br>
                <a:rPr lang="sv-SE" sz="1000">
                  <a:latin typeface="Calibri" pitchFamily="34" charset="0"/>
                </a:rPr>
              </a:br>
              <a:r>
                <a:rPr lang="sv-SE" sz="1000">
                  <a:latin typeface="Calibri" pitchFamily="34" charset="0"/>
                </a:rPr>
                <a:t>ledelse</a:t>
              </a:r>
            </a:p>
          </p:txBody>
        </p:sp>
        <p:sp>
          <p:nvSpPr>
            <p:cNvPr id="5133" name="TekstSylinder 11"/>
            <p:cNvSpPr txBox="1">
              <a:spLocks noChangeArrowheads="1"/>
            </p:cNvSpPr>
            <p:nvPr/>
          </p:nvSpPr>
          <p:spPr bwMode="auto">
            <a:xfrm>
              <a:off x="3468060" y="5620558"/>
              <a:ext cx="1625052"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sv-SE" sz="1000">
                  <a:latin typeface="Calibri" pitchFamily="34" charset="0"/>
                </a:rPr>
                <a:t>Administrativ og </a:t>
              </a:r>
            </a:p>
            <a:p>
              <a:pPr algn="ctr" eaLnBrk="1" hangingPunct="1"/>
              <a:r>
                <a:rPr lang="sv-SE" sz="1000">
                  <a:latin typeface="Calibri" pitchFamily="34" charset="0"/>
                </a:rPr>
                <a:t>pedagogisk støtte</a:t>
              </a:r>
            </a:p>
          </p:txBody>
        </p:sp>
        <p:sp>
          <p:nvSpPr>
            <p:cNvPr id="5134" name="TekstSylinder 12"/>
            <p:cNvSpPr txBox="1">
              <a:spLocks noChangeArrowheads="1"/>
            </p:cNvSpPr>
            <p:nvPr/>
          </p:nvSpPr>
          <p:spPr bwMode="auto">
            <a:xfrm>
              <a:off x="5580112" y="4026510"/>
              <a:ext cx="1802918" cy="5539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000">
                  <a:latin typeface="Calibri" pitchFamily="34" charset="0"/>
                </a:rPr>
                <a:t>God dialog og samhandling med foresatte og andre eksterne samarbeidsparter</a:t>
              </a:r>
            </a:p>
          </p:txBody>
        </p:sp>
        <p:sp>
          <p:nvSpPr>
            <p:cNvPr id="14" name="Femkant 13"/>
            <p:cNvSpPr/>
            <p:nvPr/>
          </p:nvSpPr>
          <p:spPr>
            <a:xfrm rot="5400000">
              <a:off x="1915193" y="3519970"/>
              <a:ext cx="261998" cy="1716088"/>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15" name="Femkant 14"/>
            <p:cNvSpPr/>
            <p:nvPr/>
          </p:nvSpPr>
          <p:spPr>
            <a:xfrm rot="5400000">
              <a:off x="3870200" y="3519176"/>
              <a:ext cx="261998" cy="171767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sp>
          <p:nvSpPr>
            <p:cNvPr id="16" name="Femkant 15"/>
            <p:cNvSpPr/>
            <p:nvPr/>
          </p:nvSpPr>
          <p:spPr>
            <a:xfrm rot="16200000" flipV="1">
              <a:off x="4160713" y="4559252"/>
              <a:ext cx="261999" cy="1889126"/>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a:p>
          </p:txBody>
        </p:sp>
        <p:cxnSp>
          <p:nvCxnSpPr>
            <p:cNvPr id="17" name="Rett pil 16"/>
            <p:cNvCxnSpPr/>
            <p:nvPr/>
          </p:nvCxnSpPr>
          <p:spPr>
            <a:xfrm>
              <a:off x="5004500" y="4293063"/>
              <a:ext cx="492125" cy="0"/>
            </a:xfrm>
            <a:prstGeom prst="straightConnector1">
              <a:avLst/>
            </a:prstGeom>
            <a:ln w="762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3586764819"/>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idx="4294967295"/>
          </p:nvPr>
        </p:nvSpPr>
        <p:spPr>
          <a:xfrm>
            <a:off x="1043608" y="1277938"/>
            <a:ext cx="7416823" cy="1430982"/>
          </a:xfrm>
        </p:spPr>
        <p:txBody>
          <a:bodyPr>
            <a:normAutofit/>
          </a:bodyPr>
          <a:lstStyle/>
          <a:p>
            <a:pPr eaLnBrk="1" hangingPunct="1">
              <a:defRPr/>
            </a:pPr>
            <a:r>
              <a:rPr lang="nb-NO" sz="3600" dirty="0" smtClean="0"/>
              <a:t>2. Hva var hovedfunnene i prosjektet </a:t>
            </a:r>
            <a:br>
              <a:rPr lang="nb-NO" sz="3600" dirty="0" smtClean="0"/>
            </a:br>
            <a:r>
              <a:rPr lang="nb-NO" sz="3600" dirty="0" smtClean="0"/>
              <a:t>på skolenivået?</a:t>
            </a:r>
          </a:p>
        </p:txBody>
      </p:sp>
    </p:spTree>
    <p:extLst>
      <p:ext uri="{BB962C8B-B14F-4D97-AF65-F5344CB8AC3E}">
        <p14:creationId xmlns:p14="http://schemas.microsoft.com/office/powerpoint/2010/main" xmlns="" val="1592638059"/>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2"/>
          <p:cNvGraphicFramePr>
            <a:graphicFrameLocks noChangeAspect="1"/>
          </p:cNvGraphicFramePr>
          <p:nvPr/>
        </p:nvGraphicFramePr>
        <p:xfrm>
          <a:off x="0" y="0"/>
          <a:ext cx="158750" cy="158750"/>
        </p:xfrm>
        <a:graphic>
          <a:graphicData uri="http://schemas.openxmlformats.org/presentationml/2006/ole">
            <p:oleObj spid="_x0000_s3147" name="think-cell Slide" r:id="rId7" imgW="360" imgH="360" progId="">
              <p:embed/>
            </p:oleObj>
          </a:graphicData>
        </a:graphic>
      </p:graphicFrame>
      <p:sp>
        <p:nvSpPr>
          <p:cNvPr id="7171" name="Tittel 14"/>
          <p:cNvSpPr>
            <a:spLocks noGrp="1"/>
          </p:cNvSpPr>
          <p:nvPr>
            <p:ph type="title" idx="4294967295"/>
          </p:nvPr>
        </p:nvSpPr>
        <p:spPr>
          <a:xfrm>
            <a:off x="395288" y="815975"/>
            <a:ext cx="8353425" cy="512763"/>
          </a:xfrm>
        </p:spPr>
        <p:txBody>
          <a:bodyPr/>
          <a:lstStyle/>
          <a:p>
            <a:pPr eaLnBrk="1" hangingPunct="1"/>
            <a:r>
              <a:rPr lang="nb-NO" sz="2400" dirty="0" smtClean="0"/>
              <a:t>Kartleggingen har vist at skolene i det videre arbeidet </a:t>
            </a:r>
            <a:br>
              <a:rPr lang="nb-NO" sz="2400" dirty="0" smtClean="0"/>
            </a:br>
            <a:r>
              <a:rPr lang="nb-NO" sz="2400" dirty="0" smtClean="0"/>
              <a:t>må klargjøre om de er hensiktsmessig organisert for å ivareta </a:t>
            </a:r>
            <a:br>
              <a:rPr lang="nb-NO" sz="2400" dirty="0" smtClean="0"/>
            </a:br>
            <a:r>
              <a:rPr lang="nb-NO" sz="2400" dirty="0" smtClean="0"/>
              <a:t>de tre store oppgaveområdene</a:t>
            </a:r>
            <a:r>
              <a:rPr lang="nb-NO" sz="2800" dirty="0" smtClean="0"/>
              <a:t/>
            </a:r>
            <a:br>
              <a:rPr lang="nb-NO" sz="2800" dirty="0" smtClean="0"/>
            </a:br>
            <a:endParaRPr lang="nb-NO" sz="2800" dirty="0" smtClean="0"/>
          </a:p>
        </p:txBody>
      </p:sp>
      <p:sp>
        <p:nvSpPr>
          <p:cNvPr id="7" name="Plassholder for bunntekst 6"/>
          <p:cNvSpPr txBox="1">
            <a:spLocks noGrp="1"/>
          </p:cNvSpPr>
          <p:nvPr>
            <p:custDataLst>
              <p:tags r:id="rId2"/>
            </p:custDataLst>
          </p:nvPr>
        </p:nvSpPr>
        <p:spPr>
          <a:xfrm>
            <a:off x="0" y="0"/>
            <a:ext cx="0" cy="0"/>
          </a:xfrm>
          <a:prstGeom prst="rect">
            <a:avLst/>
          </a:prstGeom>
          <a:noFill/>
        </p:spPr>
        <p:txBody>
          <a:bodyPr anchor="ctr"/>
          <a:lstStyle/>
          <a:p>
            <a:pPr algn="ctr" fontAlgn="auto">
              <a:spcBef>
                <a:spcPts val="0"/>
              </a:spcBef>
              <a:spcAft>
                <a:spcPts val="0"/>
              </a:spcAft>
              <a:defRPr/>
            </a:pPr>
            <a:endParaRPr lang="nb-NO" sz="1200" dirty="0">
              <a:solidFill>
                <a:schemeClr val="tx1">
                  <a:tint val="75000"/>
                </a:schemeClr>
              </a:solidFill>
              <a:latin typeface="+mn-lt"/>
            </a:endParaRPr>
          </a:p>
        </p:txBody>
      </p:sp>
      <p:sp>
        <p:nvSpPr>
          <p:cNvPr id="8" name="Ellipse 7"/>
          <p:cNvSpPr/>
          <p:nvPr>
            <p:custDataLst>
              <p:tags r:id="rId3"/>
            </p:custDataLst>
          </p:nvPr>
        </p:nvSpPr>
        <p:spPr>
          <a:xfrm>
            <a:off x="2987675" y="3009900"/>
            <a:ext cx="3009900" cy="3398838"/>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1200" b="1" dirty="0">
                <a:solidFill>
                  <a:schemeClr val="tx1"/>
                </a:solidFill>
              </a:rPr>
              <a:t>PEDAGOGISK KJERNEVIRKSOMHET</a:t>
            </a:r>
          </a:p>
          <a:p>
            <a:pPr algn="ctr" fontAlgn="auto">
              <a:spcBef>
                <a:spcPts val="0"/>
              </a:spcBef>
              <a:spcAft>
                <a:spcPts val="0"/>
              </a:spcAft>
              <a:defRPr/>
            </a:pPr>
            <a:endParaRPr lang="nb-NO" sz="1200" dirty="0">
              <a:solidFill>
                <a:schemeClr val="tx1"/>
              </a:solidFill>
            </a:endParaRPr>
          </a:p>
          <a:p>
            <a:pPr algn="ctr" fontAlgn="auto">
              <a:spcBef>
                <a:spcPts val="0"/>
              </a:spcBef>
              <a:spcAft>
                <a:spcPts val="0"/>
              </a:spcAft>
              <a:defRPr/>
            </a:pPr>
            <a:r>
              <a:rPr lang="nb-NO" sz="1200" dirty="0">
                <a:solidFill>
                  <a:schemeClr val="tx1"/>
                </a:solidFill>
              </a:rPr>
              <a:t>Undervisning</a:t>
            </a:r>
          </a:p>
          <a:p>
            <a:pPr algn="ctr" fontAlgn="auto">
              <a:spcBef>
                <a:spcPts val="0"/>
              </a:spcBef>
              <a:spcAft>
                <a:spcPts val="0"/>
              </a:spcAft>
              <a:defRPr/>
            </a:pPr>
            <a:r>
              <a:rPr lang="nb-NO" sz="1200" dirty="0">
                <a:solidFill>
                  <a:schemeClr val="tx1"/>
                </a:solidFill>
              </a:rPr>
              <a:t>Fagutvikling</a:t>
            </a:r>
          </a:p>
          <a:p>
            <a:pPr algn="ctr" fontAlgn="auto">
              <a:spcBef>
                <a:spcPts val="0"/>
              </a:spcBef>
              <a:spcAft>
                <a:spcPts val="0"/>
              </a:spcAft>
              <a:defRPr/>
            </a:pPr>
            <a:r>
              <a:rPr lang="nb-NO" sz="1200" dirty="0">
                <a:solidFill>
                  <a:schemeClr val="tx1"/>
                </a:solidFill>
              </a:rPr>
              <a:t>Faglig samarbeid</a:t>
            </a:r>
          </a:p>
          <a:p>
            <a:pPr algn="ctr" fontAlgn="auto">
              <a:spcBef>
                <a:spcPts val="0"/>
              </a:spcBef>
              <a:spcAft>
                <a:spcPts val="0"/>
              </a:spcAft>
              <a:defRPr/>
            </a:pPr>
            <a:r>
              <a:rPr lang="nb-NO" sz="1200" dirty="0">
                <a:solidFill>
                  <a:schemeClr val="tx1"/>
                </a:solidFill>
              </a:rPr>
              <a:t>Pedagogiske metoder</a:t>
            </a:r>
          </a:p>
          <a:p>
            <a:pPr algn="ctr" fontAlgn="auto">
              <a:spcBef>
                <a:spcPts val="0"/>
              </a:spcBef>
              <a:spcAft>
                <a:spcPts val="0"/>
              </a:spcAft>
              <a:defRPr/>
            </a:pPr>
            <a:r>
              <a:rPr lang="nb-NO" sz="1200" dirty="0">
                <a:solidFill>
                  <a:schemeClr val="tx1"/>
                </a:solidFill>
              </a:rPr>
              <a:t>Elevmedvirkning</a:t>
            </a:r>
          </a:p>
          <a:p>
            <a:pPr algn="ctr" fontAlgn="auto">
              <a:spcBef>
                <a:spcPts val="0"/>
              </a:spcBef>
              <a:spcAft>
                <a:spcPts val="0"/>
              </a:spcAft>
              <a:defRPr/>
            </a:pPr>
            <a:r>
              <a:rPr lang="nb-NO" sz="1200" dirty="0">
                <a:solidFill>
                  <a:schemeClr val="tx1"/>
                </a:solidFill>
              </a:rPr>
              <a:t>Elevvurdering</a:t>
            </a:r>
          </a:p>
          <a:p>
            <a:pPr algn="ctr" fontAlgn="auto">
              <a:spcBef>
                <a:spcPts val="0"/>
              </a:spcBef>
              <a:spcAft>
                <a:spcPts val="0"/>
              </a:spcAft>
              <a:defRPr/>
            </a:pPr>
            <a:r>
              <a:rPr lang="nb-NO" sz="1200" dirty="0">
                <a:solidFill>
                  <a:schemeClr val="tx1"/>
                </a:solidFill>
              </a:rPr>
              <a:t>Elevsaker</a:t>
            </a:r>
          </a:p>
          <a:p>
            <a:pPr algn="ctr" fontAlgn="auto">
              <a:spcBef>
                <a:spcPts val="0"/>
              </a:spcBef>
              <a:spcAft>
                <a:spcPts val="0"/>
              </a:spcAft>
              <a:defRPr/>
            </a:pPr>
            <a:r>
              <a:rPr lang="nb-NO" sz="1200" dirty="0">
                <a:solidFill>
                  <a:schemeClr val="tx1"/>
                </a:solidFill>
              </a:rPr>
              <a:t>Kompetanseutvikling lærere</a:t>
            </a:r>
          </a:p>
          <a:p>
            <a:pPr algn="ctr" fontAlgn="auto">
              <a:spcBef>
                <a:spcPts val="0"/>
              </a:spcBef>
              <a:spcAft>
                <a:spcPts val="0"/>
              </a:spcAft>
              <a:defRPr/>
            </a:pPr>
            <a:r>
              <a:rPr lang="nb-NO" sz="1200" dirty="0">
                <a:solidFill>
                  <a:schemeClr val="tx1"/>
                </a:solidFill>
              </a:rPr>
              <a:t>Samarbeid skole/hjem</a:t>
            </a:r>
          </a:p>
          <a:p>
            <a:pPr algn="ctr" fontAlgn="auto">
              <a:spcBef>
                <a:spcPts val="0"/>
              </a:spcBef>
              <a:spcAft>
                <a:spcPts val="0"/>
              </a:spcAft>
              <a:defRPr/>
            </a:pPr>
            <a:endParaRPr lang="nb-NO" sz="1200" dirty="0">
              <a:solidFill>
                <a:schemeClr val="tx1"/>
              </a:solidFill>
            </a:endParaRPr>
          </a:p>
        </p:txBody>
      </p:sp>
      <p:sp>
        <p:nvSpPr>
          <p:cNvPr id="10" name="Ellipse 9"/>
          <p:cNvSpPr/>
          <p:nvPr>
            <p:custDataLst>
              <p:tags r:id="rId4"/>
            </p:custDataLst>
          </p:nvPr>
        </p:nvSpPr>
        <p:spPr>
          <a:xfrm>
            <a:off x="5514975" y="2997200"/>
            <a:ext cx="3009900" cy="339725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1200" b="1" dirty="0">
                <a:solidFill>
                  <a:schemeClr val="tx1"/>
                </a:solidFill>
              </a:rPr>
              <a:t>ADMINISTRATIVE STØTTEOPPGAVER</a:t>
            </a:r>
          </a:p>
          <a:p>
            <a:pPr algn="ctr" fontAlgn="auto">
              <a:spcBef>
                <a:spcPts val="0"/>
              </a:spcBef>
              <a:spcAft>
                <a:spcPts val="0"/>
              </a:spcAft>
              <a:defRPr/>
            </a:pPr>
            <a:endParaRPr lang="nb-NO" sz="1200" dirty="0">
              <a:solidFill>
                <a:schemeClr val="tx1"/>
              </a:solidFill>
            </a:endParaRPr>
          </a:p>
          <a:p>
            <a:pPr algn="ctr" fontAlgn="auto">
              <a:spcBef>
                <a:spcPts val="0"/>
              </a:spcBef>
              <a:spcAft>
                <a:spcPts val="0"/>
              </a:spcAft>
              <a:defRPr/>
            </a:pPr>
            <a:r>
              <a:rPr lang="nb-NO" sz="1200" dirty="0">
                <a:solidFill>
                  <a:schemeClr val="tx1"/>
                </a:solidFill>
              </a:rPr>
              <a:t>Økonomi</a:t>
            </a:r>
          </a:p>
          <a:p>
            <a:pPr algn="ctr" fontAlgn="auto">
              <a:spcBef>
                <a:spcPts val="0"/>
              </a:spcBef>
              <a:spcAft>
                <a:spcPts val="0"/>
              </a:spcAft>
              <a:defRPr/>
            </a:pPr>
            <a:r>
              <a:rPr lang="nb-NO" sz="1200" dirty="0">
                <a:solidFill>
                  <a:schemeClr val="tx1"/>
                </a:solidFill>
              </a:rPr>
              <a:t>Rapportering</a:t>
            </a:r>
          </a:p>
          <a:p>
            <a:pPr algn="ctr" fontAlgn="auto">
              <a:spcBef>
                <a:spcPts val="0"/>
              </a:spcBef>
              <a:spcAft>
                <a:spcPts val="0"/>
              </a:spcAft>
              <a:defRPr/>
            </a:pPr>
            <a:r>
              <a:rPr lang="nb-NO" sz="1200" dirty="0">
                <a:solidFill>
                  <a:schemeClr val="tx1"/>
                </a:solidFill>
              </a:rPr>
              <a:t>Personalforvaltning/HMS</a:t>
            </a:r>
          </a:p>
          <a:p>
            <a:pPr algn="ctr" fontAlgn="auto">
              <a:spcBef>
                <a:spcPts val="0"/>
              </a:spcBef>
              <a:spcAft>
                <a:spcPts val="0"/>
              </a:spcAft>
              <a:defRPr/>
            </a:pPr>
            <a:r>
              <a:rPr lang="nb-NO" sz="1200" dirty="0">
                <a:solidFill>
                  <a:schemeClr val="tx1"/>
                </a:solidFill>
              </a:rPr>
              <a:t>Innkjøp</a:t>
            </a:r>
          </a:p>
          <a:p>
            <a:pPr algn="ctr" fontAlgn="auto">
              <a:spcBef>
                <a:spcPts val="0"/>
              </a:spcBef>
              <a:spcAft>
                <a:spcPts val="0"/>
              </a:spcAft>
              <a:defRPr/>
            </a:pPr>
            <a:r>
              <a:rPr lang="nb-NO" sz="1200" dirty="0">
                <a:solidFill>
                  <a:schemeClr val="tx1"/>
                </a:solidFill>
              </a:rPr>
              <a:t>Drift og vedlikehold/renhold</a:t>
            </a:r>
          </a:p>
          <a:p>
            <a:pPr algn="ctr" fontAlgn="auto">
              <a:spcBef>
                <a:spcPts val="0"/>
              </a:spcBef>
              <a:spcAft>
                <a:spcPts val="0"/>
              </a:spcAft>
              <a:defRPr/>
            </a:pPr>
            <a:r>
              <a:rPr lang="nb-NO" sz="1200" dirty="0">
                <a:solidFill>
                  <a:schemeClr val="tx1"/>
                </a:solidFill>
              </a:rPr>
              <a:t>Dokumentasjon og arkiv</a:t>
            </a:r>
          </a:p>
          <a:p>
            <a:pPr algn="ctr" fontAlgn="auto">
              <a:spcBef>
                <a:spcPts val="0"/>
              </a:spcBef>
              <a:spcAft>
                <a:spcPts val="0"/>
              </a:spcAft>
              <a:defRPr/>
            </a:pPr>
            <a:r>
              <a:rPr lang="nb-NO" sz="1200" dirty="0">
                <a:solidFill>
                  <a:schemeClr val="tx1"/>
                </a:solidFill>
              </a:rPr>
              <a:t>Administrasjon</a:t>
            </a:r>
          </a:p>
          <a:p>
            <a:pPr algn="ctr" fontAlgn="auto">
              <a:spcBef>
                <a:spcPts val="0"/>
              </a:spcBef>
              <a:spcAft>
                <a:spcPts val="0"/>
              </a:spcAft>
              <a:defRPr/>
            </a:pPr>
            <a:r>
              <a:rPr lang="nb-NO" sz="1200" dirty="0">
                <a:solidFill>
                  <a:schemeClr val="tx1"/>
                </a:solidFill>
              </a:rPr>
              <a:t>IKT</a:t>
            </a:r>
          </a:p>
          <a:p>
            <a:pPr algn="ctr" fontAlgn="auto">
              <a:spcBef>
                <a:spcPts val="0"/>
              </a:spcBef>
              <a:spcAft>
                <a:spcPts val="0"/>
              </a:spcAft>
              <a:defRPr/>
            </a:pPr>
            <a:r>
              <a:rPr lang="nb-NO" sz="1200" dirty="0">
                <a:solidFill>
                  <a:schemeClr val="tx1"/>
                </a:solidFill>
              </a:rPr>
              <a:t>Informasjon</a:t>
            </a:r>
          </a:p>
          <a:p>
            <a:pPr algn="ctr" fontAlgn="auto">
              <a:spcBef>
                <a:spcPts val="0"/>
              </a:spcBef>
              <a:spcAft>
                <a:spcPts val="0"/>
              </a:spcAft>
              <a:defRPr/>
            </a:pPr>
            <a:r>
              <a:rPr lang="nb-NO" sz="1200" dirty="0">
                <a:solidFill>
                  <a:schemeClr val="tx1"/>
                </a:solidFill>
              </a:rPr>
              <a:t>Markedsføring</a:t>
            </a:r>
          </a:p>
          <a:p>
            <a:pPr algn="ctr" fontAlgn="auto">
              <a:spcBef>
                <a:spcPts val="0"/>
              </a:spcBef>
              <a:spcAft>
                <a:spcPts val="0"/>
              </a:spcAft>
              <a:defRPr/>
            </a:pPr>
            <a:endParaRPr lang="nb-NO" sz="1200" dirty="0">
              <a:solidFill>
                <a:schemeClr val="tx1"/>
              </a:solidFill>
            </a:endParaRPr>
          </a:p>
        </p:txBody>
      </p:sp>
      <p:sp>
        <p:nvSpPr>
          <p:cNvPr id="9" name="Ellipse 8"/>
          <p:cNvSpPr/>
          <p:nvPr>
            <p:custDataLst>
              <p:tags r:id="rId5"/>
            </p:custDataLst>
          </p:nvPr>
        </p:nvSpPr>
        <p:spPr>
          <a:xfrm>
            <a:off x="454025" y="3009900"/>
            <a:ext cx="3009900" cy="3398838"/>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1200" b="1" dirty="0">
                <a:solidFill>
                  <a:schemeClr val="tx1"/>
                </a:solidFill>
              </a:rPr>
              <a:t>PEDAGOGISKE </a:t>
            </a:r>
          </a:p>
          <a:p>
            <a:pPr algn="ctr" fontAlgn="auto">
              <a:spcBef>
                <a:spcPts val="0"/>
              </a:spcBef>
              <a:spcAft>
                <a:spcPts val="0"/>
              </a:spcAft>
              <a:defRPr/>
            </a:pPr>
            <a:r>
              <a:rPr lang="nb-NO" sz="1200" b="1" dirty="0">
                <a:solidFill>
                  <a:schemeClr val="tx1"/>
                </a:solidFill>
              </a:rPr>
              <a:t>STØTTEOPPGAVER</a:t>
            </a:r>
            <a:r>
              <a:rPr lang="nb-NO" sz="1200" dirty="0">
                <a:solidFill>
                  <a:schemeClr val="tx1"/>
                </a:solidFill>
              </a:rPr>
              <a:t/>
            </a:r>
            <a:br>
              <a:rPr lang="nb-NO" sz="1200" dirty="0">
                <a:solidFill>
                  <a:schemeClr val="tx1"/>
                </a:solidFill>
              </a:rPr>
            </a:br>
            <a:endParaRPr lang="nb-NO" sz="1200" dirty="0">
              <a:solidFill>
                <a:schemeClr val="tx1"/>
              </a:solidFill>
            </a:endParaRPr>
          </a:p>
          <a:p>
            <a:pPr algn="ctr" fontAlgn="auto">
              <a:spcBef>
                <a:spcPts val="0"/>
              </a:spcBef>
              <a:spcAft>
                <a:spcPts val="0"/>
              </a:spcAft>
              <a:defRPr/>
            </a:pPr>
            <a:r>
              <a:rPr lang="nb-NO" sz="1200" dirty="0">
                <a:solidFill>
                  <a:schemeClr val="tx1"/>
                </a:solidFill>
              </a:rPr>
              <a:t>Eksamen</a:t>
            </a:r>
          </a:p>
          <a:p>
            <a:pPr algn="ctr" fontAlgn="auto">
              <a:spcBef>
                <a:spcPts val="0"/>
              </a:spcBef>
              <a:spcAft>
                <a:spcPts val="0"/>
              </a:spcAft>
              <a:defRPr/>
            </a:pPr>
            <a:r>
              <a:rPr lang="nb-NO" sz="1200" dirty="0">
                <a:solidFill>
                  <a:schemeClr val="tx1"/>
                </a:solidFill>
              </a:rPr>
              <a:t>Heldagsprøver</a:t>
            </a:r>
          </a:p>
          <a:p>
            <a:pPr algn="ctr" fontAlgn="auto">
              <a:spcBef>
                <a:spcPts val="0"/>
              </a:spcBef>
              <a:spcAft>
                <a:spcPts val="0"/>
              </a:spcAft>
              <a:defRPr/>
            </a:pPr>
            <a:r>
              <a:rPr lang="nb-NO" sz="1200" dirty="0">
                <a:solidFill>
                  <a:schemeClr val="tx1"/>
                </a:solidFill>
              </a:rPr>
              <a:t>Vitnemål</a:t>
            </a:r>
          </a:p>
          <a:p>
            <a:pPr algn="ctr" fontAlgn="auto">
              <a:spcBef>
                <a:spcPts val="0"/>
              </a:spcBef>
              <a:spcAft>
                <a:spcPts val="0"/>
              </a:spcAft>
              <a:defRPr/>
            </a:pPr>
            <a:r>
              <a:rPr lang="nb-NO" sz="1200" dirty="0">
                <a:solidFill>
                  <a:schemeClr val="tx1"/>
                </a:solidFill>
              </a:rPr>
              <a:t>Inntak</a:t>
            </a:r>
          </a:p>
          <a:p>
            <a:pPr algn="ctr" fontAlgn="auto">
              <a:spcBef>
                <a:spcPts val="0"/>
              </a:spcBef>
              <a:spcAft>
                <a:spcPts val="0"/>
              </a:spcAft>
              <a:defRPr/>
            </a:pPr>
            <a:r>
              <a:rPr lang="nb-NO" sz="1200" dirty="0">
                <a:solidFill>
                  <a:schemeClr val="tx1"/>
                </a:solidFill>
              </a:rPr>
              <a:t>Timeplan</a:t>
            </a:r>
          </a:p>
          <a:p>
            <a:pPr algn="ctr" fontAlgn="auto">
              <a:spcBef>
                <a:spcPts val="0"/>
              </a:spcBef>
              <a:spcAft>
                <a:spcPts val="0"/>
              </a:spcAft>
              <a:defRPr/>
            </a:pPr>
            <a:r>
              <a:rPr lang="nb-NO" sz="1200" dirty="0">
                <a:solidFill>
                  <a:schemeClr val="tx1"/>
                </a:solidFill>
              </a:rPr>
              <a:t>Fag og timefordeling</a:t>
            </a:r>
          </a:p>
          <a:p>
            <a:pPr algn="ctr" fontAlgn="auto">
              <a:spcBef>
                <a:spcPts val="0"/>
              </a:spcBef>
              <a:spcAft>
                <a:spcPts val="0"/>
              </a:spcAft>
              <a:defRPr/>
            </a:pPr>
            <a:r>
              <a:rPr lang="nb-NO" sz="1200" dirty="0">
                <a:solidFill>
                  <a:schemeClr val="tx1"/>
                </a:solidFill>
              </a:rPr>
              <a:t>Undersøkelser</a:t>
            </a:r>
          </a:p>
          <a:p>
            <a:pPr algn="ctr" fontAlgn="auto">
              <a:spcBef>
                <a:spcPts val="0"/>
              </a:spcBef>
              <a:spcAft>
                <a:spcPts val="0"/>
              </a:spcAft>
              <a:defRPr/>
            </a:pPr>
            <a:r>
              <a:rPr lang="nb-NO" sz="1200" dirty="0">
                <a:solidFill>
                  <a:schemeClr val="tx1"/>
                </a:solidFill>
              </a:rPr>
              <a:t>Elevsaker (vedtakssaker)</a:t>
            </a:r>
          </a:p>
          <a:p>
            <a:pPr algn="ctr" fontAlgn="auto">
              <a:spcBef>
                <a:spcPts val="0"/>
              </a:spcBef>
              <a:spcAft>
                <a:spcPts val="0"/>
              </a:spcAft>
              <a:defRPr/>
            </a:pPr>
            <a:endParaRPr lang="nb-NO" sz="1200" dirty="0">
              <a:solidFill>
                <a:schemeClr val="tx1"/>
              </a:solidFill>
            </a:endParaRPr>
          </a:p>
        </p:txBody>
      </p:sp>
      <p:sp>
        <p:nvSpPr>
          <p:cNvPr id="7176" name="TekstSylinder 11"/>
          <p:cNvSpPr txBox="1">
            <a:spLocks noChangeArrowheads="1"/>
          </p:cNvSpPr>
          <p:nvPr/>
        </p:nvSpPr>
        <p:spPr bwMode="auto">
          <a:xfrm>
            <a:off x="454025" y="1916832"/>
            <a:ext cx="7150100" cy="1169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400" dirty="0">
                <a:latin typeface="Calibri" pitchFamily="34" charset="0"/>
              </a:rPr>
              <a:t>For å øke kapasitet og kvalitet i ledelse av kjernevirksomheten må det vurderes hvordan</a:t>
            </a:r>
          </a:p>
          <a:p>
            <a:pPr eaLnBrk="1" hangingPunct="1"/>
            <a:r>
              <a:rPr lang="nb-NO" sz="1400" dirty="0">
                <a:latin typeface="Calibri" pitchFamily="34" charset="0"/>
              </a:rPr>
              <a:t>ansvarsområder kan rendyrkes og hvordan det kan sikres tilstrekkelig ledelsesressurs til </a:t>
            </a:r>
          </a:p>
          <a:p>
            <a:pPr eaLnBrk="1" hangingPunct="1"/>
            <a:r>
              <a:rPr lang="nb-NO" sz="1400" dirty="0">
                <a:latin typeface="Calibri" pitchFamily="34" charset="0"/>
              </a:rPr>
              <a:t>å fylle lederrollen.</a:t>
            </a:r>
          </a:p>
          <a:p>
            <a:pPr eaLnBrk="1" hangingPunct="1"/>
            <a:endParaRPr lang="nb-NO" sz="1400" dirty="0">
              <a:latin typeface="Calibri" pitchFamily="34" charset="0"/>
            </a:endParaRPr>
          </a:p>
          <a:p>
            <a:pPr eaLnBrk="1" hangingPunct="1"/>
            <a:endParaRPr lang="nb-NO" sz="1400" dirty="0">
              <a:latin typeface="Calibri" pitchFamily="34" charset="0"/>
            </a:endParaRPr>
          </a:p>
        </p:txBody>
      </p:sp>
      <p:sp>
        <p:nvSpPr>
          <p:cNvPr id="7177" name="TekstSylinder 13"/>
          <p:cNvSpPr txBox="1">
            <a:spLocks noChangeArrowheads="1"/>
          </p:cNvSpPr>
          <p:nvPr/>
        </p:nvSpPr>
        <p:spPr bwMode="auto">
          <a:xfrm>
            <a:off x="395288" y="2708275"/>
            <a:ext cx="4405312" cy="247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1000" b="1">
                <a:latin typeface="Calibri" pitchFamily="34" charset="0"/>
              </a:rPr>
              <a:t>SKOLENES TRE STORE OPPGAVEOMRÅDER UNDERLAGT REKTOR</a:t>
            </a:r>
          </a:p>
        </p:txBody>
      </p:sp>
      <p:sp>
        <p:nvSpPr>
          <p:cNvPr id="7178" name="TekstSylinder 1"/>
          <p:cNvSpPr txBox="1">
            <a:spLocks noChangeArrowheads="1"/>
          </p:cNvSpPr>
          <p:nvPr/>
        </p:nvSpPr>
        <p:spPr bwMode="auto">
          <a:xfrm>
            <a:off x="395288" y="6438900"/>
            <a:ext cx="547211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nb-NO" sz="900">
                <a:latin typeface="Calibri" pitchFamily="34" charset="0"/>
              </a:rPr>
              <a:t>Note: Oppgavene listet opp i sirklene, er ikke uttømmende</a:t>
            </a:r>
          </a:p>
        </p:txBody>
      </p:sp>
    </p:spTree>
    <p:extLst>
      <p:ext uri="{BB962C8B-B14F-4D97-AF65-F5344CB8AC3E}">
        <p14:creationId xmlns:p14="http://schemas.microsoft.com/office/powerpoint/2010/main" xmlns="" val="2618790300"/>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txBox="1">
            <a:spLocks noGrp="1"/>
          </p:cNvSpPr>
          <p:nvPr/>
        </p:nvSpPr>
        <p:spPr>
          <a:xfrm>
            <a:off x="0" y="0"/>
            <a:ext cx="0" cy="0"/>
          </a:xfrm>
          <a:prstGeom prst="rect">
            <a:avLst/>
          </a:prstGeom>
          <a:noFill/>
        </p:spPr>
        <p:txBody>
          <a:bodyPr anchor="ctr"/>
          <a:lstStyle/>
          <a:p>
            <a:pPr algn="ctr" fontAlgn="auto">
              <a:spcBef>
                <a:spcPts val="0"/>
              </a:spcBef>
              <a:spcAft>
                <a:spcPts val="0"/>
              </a:spcAft>
              <a:defRPr/>
            </a:pPr>
            <a:endParaRPr lang="nb-NO" sz="1200" dirty="0">
              <a:solidFill>
                <a:schemeClr val="tx1">
                  <a:tint val="75000"/>
                </a:schemeClr>
              </a:solidFill>
              <a:latin typeface="+mn-lt"/>
            </a:endParaRPr>
          </a:p>
        </p:txBody>
      </p:sp>
      <p:sp>
        <p:nvSpPr>
          <p:cNvPr id="8195" name="Rectangle 23"/>
          <p:cNvSpPr>
            <a:spLocks noChangeArrowheads="1"/>
          </p:cNvSpPr>
          <p:nvPr>
            <p:custDataLst>
              <p:tags r:id="rId1"/>
            </p:custDataLst>
          </p:nvPr>
        </p:nvSpPr>
        <p:spPr bwMode="auto">
          <a:xfrm>
            <a:off x="323850" y="1557338"/>
            <a:ext cx="3141663" cy="4451350"/>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72000" tIns="72000" rIns="72000" bIns="72000"/>
          <a:lstStyle/>
          <a:p>
            <a:pPr marL="342900" indent="-342900">
              <a:buFont typeface="Arial" charset="0"/>
              <a:buChar char="•"/>
            </a:pPr>
            <a:r>
              <a:rPr lang="nb-NO" sz="1100">
                <a:latin typeface="Calibri" pitchFamily="34" charset="0"/>
              </a:rPr>
              <a:t>Økt arbeidsmengde og kompleksitet innenfor pedagogiske og administrative oppgaver</a:t>
            </a:r>
          </a:p>
          <a:p>
            <a:pPr marL="342900" indent="-342900">
              <a:buFont typeface="Arial" charset="0"/>
              <a:buChar char="•"/>
            </a:pPr>
            <a:r>
              <a:rPr lang="nb-NO" sz="1100">
                <a:latin typeface="Calibri" pitchFamily="34" charset="0"/>
              </a:rPr>
              <a:t>For stort spenn i ansvars- og oppgaveområde</a:t>
            </a:r>
          </a:p>
          <a:p>
            <a:pPr marL="628650" lvl="1" indent="-171450">
              <a:buFont typeface="Arial" charset="0"/>
              <a:buChar char="•"/>
            </a:pPr>
            <a:r>
              <a:rPr lang="nb-NO" sz="1100">
                <a:latin typeface="Calibri" pitchFamily="34" charset="0"/>
              </a:rPr>
              <a:t>Virksomhetsledelse, strategisk ledelse</a:t>
            </a:r>
          </a:p>
          <a:p>
            <a:pPr marL="628650" lvl="1" indent="-171450">
              <a:buFont typeface="Arial" charset="0"/>
              <a:buChar char="•"/>
            </a:pPr>
            <a:r>
              <a:rPr lang="nb-NO" sz="1100">
                <a:latin typeface="Calibri" pitchFamily="34" charset="0"/>
              </a:rPr>
              <a:t>Personalansvar fra 0  til 35 personer</a:t>
            </a:r>
          </a:p>
          <a:p>
            <a:pPr marL="628650" lvl="1" indent="-171450">
              <a:buFont typeface="Arial" charset="0"/>
              <a:buChar char="•"/>
            </a:pPr>
            <a:r>
              <a:rPr lang="nb-NO" sz="1100">
                <a:latin typeface="Calibri" pitchFamily="34" charset="0"/>
              </a:rPr>
              <a:t>Undervisningsprosent varierer betydelig</a:t>
            </a:r>
          </a:p>
          <a:p>
            <a:pPr marL="628650" lvl="1" indent="-171450">
              <a:buFont typeface="Arial" charset="0"/>
              <a:buChar char="•"/>
            </a:pPr>
            <a:r>
              <a:rPr lang="nb-NO" sz="1100">
                <a:latin typeface="Calibri" pitchFamily="34" charset="0"/>
              </a:rPr>
              <a:t>Økonomi og budsjettansvar/oppgaver</a:t>
            </a:r>
          </a:p>
          <a:p>
            <a:pPr marL="628650" lvl="1" indent="-171450">
              <a:buFont typeface="Arial" charset="0"/>
              <a:buChar char="•"/>
            </a:pPr>
            <a:r>
              <a:rPr lang="nb-NO" sz="1100">
                <a:latin typeface="Calibri" pitchFamily="34" charset="0"/>
              </a:rPr>
              <a:t>Pedagogiske støtteoppgaver – (eksamen, vitnemål, inntak, elevsaker etc.)</a:t>
            </a:r>
          </a:p>
          <a:p>
            <a:pPr marL="628650" lvl="1" indent="-171450">
              <a:buFont typeface="Arial" charset="0"/>
              <a:buChar char="•"/>
            </a:pPr>
            <a:r>
              <a:rPr lang="nb-NO" sz="1100">
                <a:latin typeface="Calibri" pitchFamily="34" charset="0"/>
              </a:rPr>
              <a:t>Administrative oppgaver (HMS, ekstern kontakt, økonomi, IT etc.)</a:t>
            </a:r>
          </a:p>
          <a:p>
            <a:pPr marL="628650" lvl="1" indent="-171450">
              <a:buFont typeface="Arial" charset="0"/>
              <a:buChar char="•"/>
            </a:pPr>
            <a:r>
              <a:rPr lang="nb-NO" sz="1100">
                <a:latin typeface="Calibri" pitchFamily="34" charset="0"/>
              </a:rPr>
              <a:t>Fagansvar</a:t>
            </a:r>
          </a:p>
          <a:p>
            <a:pPr marL="628650" lvl="1" indent="-171450">
              <a:buFont typeface="Arial" charset="0"/>
              <a:buChar char="•"/>
            </a:pPr>
            <a:r>
              <a:rPr lang="nb-NO" sz="1100">
                <a:latin typeface="Calibri" pitchFamily="34" charset="0"/>
              </a:rPr>
              <a:t>Trinnansvar </a:t>
            </a:r>
          </a:p>
          <a:p>
            <a:pPr marL="342900" indent="-342900">
              <a:buFont typeface="Arial" charset="0"/>
              <a:buChar char="•"/>
            </a:pPr>
            <a:r>
              <a:rPr lang="nb-NO" sz="1100">
                <a:latin typeface="Calibri" pitchFamily="34" charset="0"/>
              </a:rPr>
              <a:t>Varierende kompetanse i lederrollen</a:t>
            </a:r>
          </a:p>
          <a:p>
            <a:pPr marL="628650" lvl="1" indent="-171450">
              <a:buFont typeface="Arial" charset="0"/>
              <a:buChar char="•"/>
            </a:pPr>
            <a:r>
              <a:rPr lang="nb-NO" sz="1100">
                <a:latin typeface="Calibri" pitchFamily="34" charset="0"/>
              </a:rPr>
              <a:t>Fra lærerjobb til lederjobb</a:t>
            </a:r>
          </a:p>
          <a:p>
            <a:pPr marL="342900" indent="-342900">
              <a:buFont typeface="Arial" charset="0"/>
              <a:buChar char="•"/>
            </a:pPr>
            <a:r>
              <a:rPr lang="nb-NO" sz="1100">
                <a:latin typeface="Calibri" pitchFamily="34" charset="0"/>
              </a:rPr>
              <a:t>Utviklingsdelen av virksomhetsledelse blir ofte en salderingspost</a:t>
            </a:r>
          </a:p>
          <a:p>
            <a:pPr marL="342900" indent="-342900">
              <a:buFont typeface="Arial" charset="0"/>
              <a:buChar char="•"/>
            </a:pPr>
            <a:r>
              <a:rPr lang="nb-NO" sz="1100">
                <a:latin typeface="Calibri" pitchFamily="34" charset="0"/>
              </a:rPr>
              <a:t>Avdelingslederne for operative – utfører oppgaver fra A til Å</a:t>
            </a:r>
          </a:p>
        </p:txBody>
      </p:sp>
      <p:sp>
        <p:nvSpPr>
          <p:cNvPr id="43" name="Rectangle 23"/>
          <p:cNvSpPr>
            <a:spLocks noChangeArrowheads="1"/>
          </p:cNvSpPr>
          <p:nvPr>
            <p:custDataLst>
              <p:tags r:id="rId2"/>
            </p:custDataLst>
          </p:nvPr>
        </p:nvSpPr>
        <p:spPr bwMode="auto">
          <a:xfrm>
            <a:off x="3825875" y="1557338"/>
            <a:ext cx="4922838" cy="4451350"/>
          </a:xfrm>
          <a:prstGeom prst="rect">
            <a:avLst/>
          </a:prstGeom>
          <a:noFill/>
          <a:ln w="9525" algn="ctr">
            <a:solidFill>
              <a:schemeClr val="tx2"/>
            </a:solidFill>
            <a:miter lim="800000"/>
            <a:headEnd/>
            <a:tailEnd/>
          </a:ln>
          <a:effectLst/>
        </p:spPr>
        <p:txBody>
          <a:bodyPr lIns="72000" tIns="72000" rIns="72000" bIns="72000"/>
          <a:lstStyle/>
          <a:p>
            <a:pPr fontAlgn="auto">
              <a:spcBef>
                <a:spcPts val="0"/>
              </a:spcBef>
              <a:spcAft>
                <a:spcPts val="0"/>
              </a:spcAft>
              <a:defRPr/>
            </a:pPr>
            <a:r>
              <a:rPr lang="nb-NO" sz="1100" b="1" dirty="0">
                <a:latin typeface="+mn-lt"/>
              </a:rPr>
              <a:t>STANDARDER</a:t>
            </a:r>
            <a:endParaRPr lang="nb-NO" sz="1100" dirty="0">
              <a:latin typeface="+mn-lt"/>
            </a:endParaRPr>
          </a:p>
          <a:p>
            <a:pPr marL="228600" indent="-228600" fontAlgn="auto">
              <a:spcBef>
                <a:spcPts val="0"/>
              </a:spcBef>
              <a:spcAft>
                <a:spcPts val="0"/>
              </a:spcAft>
              <a:buFont typeface="+mj-lt"/>
              <a:buAutoNum type="arabicPeriod"/>
              <a:defRPr/>
            </a:pPr>
            <a:r>
              <a:rPr lang="nb-NO" sz="1100" dirty="0">
                <a:latin typeface="+mn-lt"/>
              </a:rPr>
              <a:t>Avdelingsledere skal ha ansvar og oppgaver knyttet til ledelse av kjernevirksomheten. Lederressurs 100%, men minimum 70%</a:t>
            </a:r>
          </a:p>
          <a:p>
            <a:pPr marL="685800" lvl="1" indent="-228600" fontAlgn="auto">
              <a:spcBef>
                <a:spcPts val="0"/>
              </a:spcBef>
              <a:spcAft>
                <a:spcPts val="0"/>
              </a:spcAft>
              <a:buFont typeface="+mj-lt"/>
              <a:buAutoNum type="alphaLcPeriod"/>
              <a:defRPr/>
            </a:pPr>
            <a:r>
              <a:rPr lang="nb-NO" sz="1100" dirty="0">
                <a:latin typeface="+mn-lt"/>
              </a:rPr>
              <a:t>Pedagogisk ledelse</a:t>
            </a:r>
          </a:p>
          <a:p>
            <a:pPr marL="1143000" lvl="2" indent="-228600" fontAlgn="auto">
              <a:spcBef>
                <a:spcPts val="0"/>
              </a:spcBef>
              <a:spcAft>
                <a:spcPts val="0"/>
              </a:spcAft>
              <a:buFont typeface="+mj-lt"/>
              <a:buAutoNum type="alphaLcPeriod"/>
              <a:defRPr/>
            </a:pPr>
            <a:r>
              <a:rPr lang="nb-NO" sz="1100" dirty="0">
                <a:latin typeface="+mn-lt"/>
              </a:rPr>
              <a:t>Personalansvar – ca. 20  personer ved 100%</a:t>
            </a:r>
          </a:p>
          <a:p>
            <a:pPr marL="1143000" lvl="2" indent="-228600" fontAlgn="auto">
              <a:spcBef>
                <a:spcPts val="0"/>
              </a:spcBef>
              <a:spcAft>
                <a:spcPts val="0"/>
              </a:spcAft>
              <a:buFont typeface="+mj-lt"/>
              <a:buAutoNum type="alphaLcPeriod"/>
              <a:defRPr/>
            </a:pPr>
            <a:r>
              <a:rPr lang="nb-NO" sz="1100" dirty="0">
                <a:latin typeface="+mn-lt"/>
              </a:rPr>
              <a:t>Fagansvar/trinnansvar</a:t>
            </a:r>
          </a:p>
          <a:p>
            <a:pPr marL="685800" lvl="1" indent="-228600" fontAlgn="auto">
              <a:spcBef>
                <a:spcPts val="0"/>
              </a:spcBef>
              <a:spcAft>
                <a:spcPts val="0"/>
              </a:spcAft>
              <a:buFont typeface="+mj-lt"/>
              <a:buAutoNum type="alphaLcPeriod"/>
              <a:defRPr/>
            </a:pPr>
            <a:r>
              <a:rPr lang="nb-NO" sz="1100" dirty="0">
                <a:latin typeface="+mn-lt"/>
              </a:rPr>
              <a:t>Virksomhetsledelse</a:t>
            </a:r>
          </a:p>
          <a:p>
            <a:pPr marL="685800" lvl="1" indent="-228600" fontAlgn="auto">
              <a:spcBef>
                <a:spcPts val="0"/>
              </a:spcBef>
              <a:spcAft>
                <a:spcPts val="0"/>
              </a:spcAft>
              <a:buFont typeface="+mj-lt"/>
              <a:buAutoNum type="alphaLcPeriod"/>
              <a:defRPr/>
            </a:pPr>
            <a:r>
              <a:rPr lang="nb-NO" sz="1100" dirty="0">
                <a:latin typeface="+mn-lt"/>
              </a:rPr>
              <a:t>Økonomi- og budsjettansvar</a:t>
            </a:r>
          </a:p>
          <a:p>
            <a:pPr marL="228600" indent="-228600" fontAlgn="auto">
              <a:spcBef>
                <a:spcPts val="0"/>
              </a:spcBef>
              <a:spcAft>
                <a:spcPts val="0"/>
              </a:spcAft>
              <a:buFont typeface="+mj-lt"/>
              <a:buAutoNum type="arabicPeriod"/>
              <a:defRPr/>
            </a:pPr>
            <a:r>
              <a:rPr lang="nb-NO" sz="1100" dirty="0">
                <a:latin typeface="+mn-lt"/>
              </a:rPr>
              <a:t>Avdelingsledere kan ha pedagogiske støtteoppgaver eller undervisning – til sammen maks 30%</a:t>
            </a:r>
          </a:p>
          <a:p>
            <a:pPr marL="228600" indent="-228600" fontAlgn="auto">
              <a:spcBef>
                <a:spcPts val="0"/>
              </a:spcBef>
              <a:spcAft>
                <a:spcPts val="0"/>
              </a:spcAft>
              <a:buFont typeface="+mj-lt"/>
              <a:buAutoNum type="arabicPeriod"/>
              <a:defRPr/>
            </a:pPr>
            <a:r>
              <a:rPr lang="nb-NO" sz="1100" dirty="0">
                <a:latin typeface="+mn-lt"/>
              </a:rPr>
              <a:t>Pedagogiske støtteoppgaver</a:t>
            </a:r>
          </a:p>
          <a:p>
            <a:pPr marL="685800" lvl="1" indent="-228600" fontAlgn="auto">
              <a:spcBef>
                <a:spcPts val="0"/>
              </a:spcBef>
              <a:spcAft>
                <a:spcPts val="0"/>
              </a:spcAft>
              <a:buFont typeface="+mj-lt"/>
              <a:buAutoNum type="alphaLcPeriod"/>
              <a:defRPr/>
            </a:pPr>
            <a:r>
              <a:rPr lang="nb-NO" sz="1100" dirty="0">
                <a:latin typeface="+mn-lt"/>
              </a:rPr>
              <a:t>Disse oppgavene anbefales lagt til egen rolle med pedagogisk kompetanse (f.eks. </a:t>
            </a:r>
            <a:r>
              <a:rPr lang="nb-NO" sz="1100" dirty="0" err="1">
                <a:latin typeface="+mn-lt"/>
              </a:rPr>
              <a:t>ass.rektor</a:t>
            </a:r>
            <a:r>
              <a:rPr lang="nb-NO" sz="1100" dirty="0">
                <a:latin typeface="+mn-lt"/>
              </a:rPr>
              <a:t>, mellomleder) </a:t>
            </a:r>
          </a:p>
          <a:p>
            <a:pPr marL="228600" indent="-228600" fontAlgn="auto">
              <a:spcBef>
                <a:spcPts val="0"/>
              </a:spcBef>
              <a:spcAft>
                <a:spcPts val="0"/>
              </a:spcAft>
              <a:buFont typeface="+mj-lt"/>
              <a:buAutoNum type="arabicPeriod"/>
              <a:defRPr/>
            </a:pPr>
            <a:r>
              <a:rPr lang="nb-NO" sz="1100" dirty="0">
                <a:latin typeface="+mn-lt"/>
              </a:rPr>
              <a:t>Kompetansekrav</a:t>
            </a:r>
          </a:p>
          <a:p>
            <a:pPr marL="685800" lvl="1" indent="-228600" fontAlgn="auto">
              <a:spcBef>
                <a:spcPts val="0"/>
              </a:spcBef>
              <a:spcAft>
                <a:spcPts val="0"/>
              </a:spcAft>
              <a:buFont typeface="+mj-lt"/>
              <a:buAutoNum type="alphaLcPeriod"/>
              <a:defRPr/>
            </a:pPr>
            <a:r>
              <a:rPr lang="nb-NO" sz="1100" dirty="0">
                <a:latin typeface="+mn-lt"/>
              </a:rPr>
              <a:t>Gjennomført fylkeskommunens mellomlederopplæring, jfr. pkt om sentraladministrasjonen</a:t>
            </a:r>
          </a:p>
          <a:p>
            <a:pPr fontAlgn="auto">
              <a:spcBef>
                <a:spcPts val="0"/>
              </a:spcBef>
              <a:spcAft>
                <a:spcPts val="0"/>
              </a:spcAft>
              <a:defRPr/>
            </a:pPr>
            <a:endParaRPr lang="nb-NO" sz="1100" b="1" dirty="0">
              <a:latin typeface="+mn-lt"/>
            </a:endParaRPr>
          </a:p>
          <a:p>
            <a:pPr fontAlgn="auto">
              <a:spcBef>
                <a:spcPts val="0"/>
              </a:spcBef>
              <a:spcAft>
                <a:spcPts val="0"/>
              </a:spcAft>
              <a:defRPr/>
            </a:pPr>
            <a:r>
              <a:rPr lang="nb-NO" sz="1100" b="1" dirty="0">
                <a:latin typeface="+mn-lt"/>
              </a:rPr>
              <a:t>TILTAK</a:t>
            </a:r>
          </a:p>
          <a:p>
            <a:pPr marL="228600" indent="-228600" fontAlgn="auto">
              <a:spcBef>
                <a:spcPts val="0"/>
              </a:spcBef>
              <a:spcAft>
                <a:spcPts val="0"/>
              </a:spcAft>
              <a:buFont typeface="+mj-lt"/>
              <a:buAutoNum type="arabicPeriod"/>
              <a:defRPr/>
            </a:pPr>
            <a:r>
              <a:rPr lang="nb-NO" sz="1100" dirty="0">
                <a:latin typeface="+mn-lt"/>
              </a:rPr>
              <a:t>Gjennomføre fylkeskommunens program for mellomlederutvikling (jfr. pkt. om sentraladministrasjonen)</a:t>
            </a:r>
          </a:p>
          <a:p>
            <a:pPr marL="228600" indent="-228600" fontAlgn="auto">
              <a:spcBef>
                <a:spcPts val="0"/>
              </a:spcBef>
              <a:spcAft>
                <a:spcPts val="0"/>
              </a:spcAft>
              <a:buFont typeface="+mj-lt"/>
              <a:buAutoNum type="arabicPeriod"/>
              <a:defRPr/>
            </a:pPr>
            <a:r>
              <a:rPr lang="nb-NO" sz="1100" dirty="0">
                <a:latin typeface="+mn-lt"/>
              </a:rPr>
              <a:t>Utarbeide 3-års plan i løpet av 2012 for gjennomføring av foreslåtte standarder – følges opp i dialog med sentraladministrasjonen </a:t>
            </a:r>
          </a:p>
          <a:p>
            <a:pPr marL="685800" lvl="1" indent="-228600" fontAlgn="auto">
              <a:spcBef>
                <a:spcPts val="0"/>
              </a:spcBef>
              <a:spcAft>
                <a:spcPts val="0"/>
              </a:spcAft>
              <a:buFont typeface="+mj-lt"/>
              <a:buAutoNum type="alphaLcPeriod"/>
              <a:defRPr/>
            </a:pPr>
            <a:r>
              <a:rPr lang="nb-NO" sz="1100" dirty="0">
                <a:latin typeface="+mn-lt"/>
              </a:rPr>
              <a:t>Vurdere undervisningsprosent</a:t>
            </a:r>
          </a:p>
          <a:p>
            <a:pPr marL="685800" lvl="1" indent="-228600" fontAlgn="auto">
              <a:spcBef>
                <a:spcPts val="0"/>
              </a:spcBef>
              <a:spcAft>
                <a:spcPts val="0"/>
              </a:spcAft>
              <a:buFont typeface="+mj-lt"/>
              <a:buAutoNum type="alphaLcPeriod"/>
              <a:defRPr/>
            </a:pPr>
            <a:r>
              <a:rPr lang="nb-NO" sz="1100" dirty="0">
                <a:latin typeface="+mn-lt"/>
              </a:rPr>
              <a:t>Vurdere organisering av  pedagogiske støtteoppgaver</a:t>
            </a:r>
          </a:p>
          <a:p>
            <a:pPr marL="228600" indent="-228600" fontAlgn="auto">
              <a:spcBef>
                <a:spcPts val="0"/>
              </a:spcBef>
              <a:spcAft>
                <a:spcPts val="0"/>
              </a:spcAft>
              <a:buFont typeface="+mj-lt"/>
              <a:buAutoNum type="alphaLcPeriod"/>
              <a:defRPr/>
            </a:pPr>
            <a:endParaRPr lang="nb-NO" sz="1100" dirty="0">
              <a:latin typeface="+mn-lt"/>
            </a:endParaRPr>
          </a:p>
        </p:txBody>
      </p:sp>
      <p:sp>
        <p:nvSpPr>
          <p:cNvPr id="9" name="TekstSylinder 8"/>
          <p:cNvSpPr txBox="1"/>
          <p:nvPr/>
        </p:nvSpPr>
        <p:spPr>
          <a:xfrm>
            <a:off x="203200" y="1311275"/>
            <a:ext cx="1674813" cy="246063"/>
          </a:xfrm>
          <a:prstGeom prst="rect">
            <a:avLst/>
          </a:prstGeom>
          <a:noFill/>
        </p:spPr>
        <p:txBody>
          <a:bodyPr wrap="none">
            <a:spAutoFit/>
          </a:bodyPr>
          <a:lstStyle/>
          <a:p>
            <a:pPr fontAlgn="auto">
              <a:spcBef>
                <a:spcPts val="0"/>
              </a:spcBef>
              <a:spcAft>
                <a:spcPts val="0"/>
              </a:spcAft>
              <a:defRPr/>
            </a:pPr>
            <a:r>
              <a:rPr lang="nb-NO" sz="1000" b="1" dirty="0">
                <a:solidFill>
                  <a:schemeClr val="accent6">
                    <a:lumMod val="10000"/>
                  </a:schemeClr>
                </a:solidFill>
                <a:latin typeface="+mn-lt"/>
              </a:rPr>
              <a:t>HOVEDUTFORDRINGER</a:t>
            </a:r>
          </a:p>
        </p:txBody>
      </p:sp>
      <p:sp>
        <p:nvSpPr>
          <p:cNvPr id="10" name="TekstSylinder 9"/>
          <p:cNvSpPr txBox="1"/>
          <p:nvPr/>
        </p:nvSpPr>
        <p:spPr>
          <a:xfrm>
            <a:off x="3803650" y="1311275"/>
            <a:ext cx="1809750" cy="246063"/>
          </a:xfrm>
          <a:prstGeom prst="rect">
            <a:avLst/>
          </a:prstGeom>
          <a:noFill/>
        </p:spPr>
        <p:txBody>
          <a:bodyPr wrap="none">
            <a:spAutoFit/>
          </a:bodyPr>
          <a:lstStyle/>
          <a:p>
            <a:pPr fontAlgn="auto">
              <a:spcBef>
                <a:spcPts val="0"/>
              </a:spcBef>
              <a:spcAft>
                <a:spcPts val="0"/>
              </a:spcAft>
              <a:defRPr/>
            </a:pPr>
            <a:r>
              <a:rPr lang="nb-NO" sz="1000" b="1" dirty="0">
                <a:solidFill>
                  <a:schemeClr val="accent6">
                    <a:lumMod val="10000"/>
                  </a:schemeClr>
                </a:solidFill>
                <a:latin typeface="+mn-lt"/>
              </a:rPr>
              <a:t>STANDARDER OG TILTAK</a:t>
            </a:r>
          </a:p>
        </p:txBody>
      </p:sp>
      <p:sp>
        <p:nvSpPr>
          <p:cNvPr id="12" name="Avrund diagonale hjørner i rektangel 11"/>
          <p:cNvSpPr/>
          <p:nvPr/>
        </p:nvSpPr>
        <p:spPr>
          <a:xfrm>
            <a:off x="3563938" y="1831975"/>
            <a:ext cx="466725" cy="228600"/>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S1</a:t>
            </a:r>
          </a:p>
        </p:txBody>
      </p:sp>
      <p:sp>
        <p:nvSpPr>
          <p:cNvPr id="14" name="Avrund diagonale hjørner i rektangel 13"/>
          <p:cNvSpPr/>
          <p:nvPr/>
        </p:nvSpPr>
        <p:spPr>
          <a:xfrm>
            <a:off x="3563938" y="2924175"/>
            <a:ext cx="466725" cy="230188"/>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S2</a:t>
            </a:r>
          </a:p>
        </p:txBody>
      </p:sp>
      <p:sp>
        <p:nvSpPr>
          <p:cNvPr id="15" name="Avrund diagonale hjørner i rektangel 14"/>
          <p:cNvSpPr/>
          <p:nvPr/>
        </p:nvSpPr>
        <p:spPr>
          <a:xfrm>
            <a:off x="3563938" y="3284538"/>
            <a:ext cx="466725" cy="230187"/>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S3</a:t>
            </a:r>
          </a:p>
        </p:txBody>
      </p:sp>
      <p:sp>
        <p:nvSpPr>
          <p:cNvPr id="16" name="Avrund diagonale hjørner i rektangel 15"/>
          <p:cNvSpPr/>
          <p:nvPr/>
        </p:nvSpPr>
        <p:spPr>
          <a:xfrm>
            <a:off x="3563938" y="3775075"/>
            <a:ext cx="466725" cy="230188"/>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S4</a:t>
            </a:r>
          </a:p>
        </p:txBody>
      </p:sp>
      <p:sp>
        <p:nvSpPr>
          <p:cNvPr id="17" name="Avrund diagonale hjørner i rektangel 16"/>
          <p:cNvSpPr/>
          <p:nvPr/>
        </p:nvSpPr>
        <p:spPr>
          <a:xfrm>
            <a:off x="3563938" y="4652963"/>
            <a:ext cx="466725" cy="230187"/>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T1</a:t>
            </a:r>
          </a:p>
        </p:txBody>
      </p:sp>
      <p:sp>
        <p:nvSpPr>
          <p:cNvPr id="18" name="Avrund diagonale hjørner i rektangel 17"/>
          <p:cNvSpPr/>
          <p:nvPr/>
        </p:nvSpPr>
        <p:spPr>
          <a:xfrm>
            <a:off x="3563938" y="5000625"/>
            <a:ext cx="466725" cy="228600"/>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T2</a:t>
            </a:r>
          </a:p>
        </p:txBody>
      </p:sp>
      <p:sp>
        <p:nvSpPr>
          <p:cNvPr id="19" name="Tittel 2"/>
          <p:cNvSpPr txBox="1">
            <a:spLocks/>
          </p:cNvSpPr>
          <p:nvPr/>
        </p:nvSpPr>
        <p:spPr>
          <a:xfrm>
            <a:off x="179388" y="757238"/>
            <a:ext cx="8353425" cy="511175"/>
          </a:xfrm>
          <a:prstGeom prst="rect">
            <a:avLst/>
          </a:prstGeom>
        </p:spPr>
        <p:txBody>
          <a:bodyPr/>
          <a:lstStyle>
            <a:lvl1pPr algn="l" defTabSz="914400" rtl="0" eaLnBrk="1" latinLnBrk="0" hangingPunct="1">
              <a:spcBef>
                <a:spcPct val="0"/>
              </a:spcBef>
              <a:buNone/>
              <a:defRPr sz="1600" b="1" kern="1200">
                <a:solidFill>
                  <a:schemeClr val="tx1"/>
                </a:solidFill>
                <a:latin typeface="+mj-lt"/>
                <a:ea typeface="+mj-ea"/>
                <a:cs typeface="+mj-cs"/>
              </a:defRPr>
            </a:lvl1pPr>
          </a:lstStyle>
          <a:p>
            <a:pPr fontAlgn="auto">
              <a:spcAft>
                <a:spcPts val="0"/>
              </a:spcAft>
              <a:defRPr/>
            </a:pPr>
            <a:r>
              <a:rPr lang="nb-NO" kern="0" dirty="0" smtClean="0">
                <a:solidFill>
                  <a:prstClr val="black"/>
                </a:solidFill>
              </a:rPr>
              <a:t>Avdelingsledelse</a:t>
            </a:r>
            <a:endParaRPr lang="nb-NO" dirty="0"/>
          </a:p>
        </p:txBody>
      </p:sp>
      <p:sp>
        <p:nvSpPr>
          <p:cNvPr id="21" name="TekstSylinder 20"/>
          <p:cNvSpPr txBox="1"/>
          <p:nvPr>
            <p:custDataLst>
              <p:tags r:id="rId3"/>
            </p:custDataLst>
          </p:nvPr>
        </p:nvSpPr>
        <p:spPr>
          <a:xfrm>
            <a:off x="7435850" y="115888"/>
            <a:ext cx="1600200" cy="254000"/>
          </a:xfrm>
          <a:prstGeom prst="rect">
            <a:avLst/>
          </a:prstGeom>
          <a:noFill/>
        </p:spPr>
        <p:txBody>
          <a:bodyPr wrap="none">
            <a:spAutoFit/>
          </a:bodyPr>
          <a:lstStyle/>
          <a:p>
            <a:pPr fontAlgn="auto">
              <a:spcBef>
                <a:spcPts val="0"/>
              </a:spcBef>
              <a:spcAft>
                <a:spcPts val="0"/>
              </a:spcAft>
              <a:defRPr/>
            </a:pPr>
            <a:r>
              <a:rPr lang="nb-NO" sz="1050" dirty="0">
                <a:solidFill>
                  <a:schemeClr val="bg1">
                    <a:lumMod val="50000"/>
                  </a:schemeClr>
                </a:solidFill>
                <a:latin typeface="+mn-lt"/>
              </a:rPr>
              <a:t>AVDELINGSLEDELSE </a:t>
            </a:r>
          </a:p>
        </p:txBody>
      </p:sp>
    </p:spTree>
    <p:extLst>
      <p:ext uri="{BB962C8B-B14F-4D97-AF65-F5344CB8AC3E}">
        <p14:creationId xmlns:p14="http://schemas.microsoft.com/office/powerpoint/2010/main" xmlns="" val="3167168751"/>
      </p:ext>
    </p:extLst>
  </p:cSld>
  <p:clrMapOvr>
    <a:masterClrMapping/>
  </p:clrMapOvr>
  <mc:AlternateContent xmlns:mc="http://schemas.openxmlformats.org/markup-compatibility/2006">
    <mc:Choice xmlns:p14="http://schemas.microsoft.com/office/powerpoint/2010/main" xmlns="" Requires="p14">
      <p:transition p14:dur="0" advTm="0"/>
    </mc:Choice>
    <mc:Fallback>
      <p:transition advTm="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txBox="1">
            <a:spLocks noGrp="1"/>
          </p:cNvSpPr>
          <p:nvPr/>
        </p:nvSpPr>
        <p:spPr>
          <a:xfrm>
            <a:off x="0" y="0"/>
            <a:ext cx="0" cy="0"/>
          </a:xfrm>
          <a:prstGeom prst="rect">
            <a:avLst/>
          </a:prstGeom>
          <a:noFill/>
        </p:spPr>
        <p:txBody>
          <a:bodyPr anchor="ctr"/>
          <a:lstStyle/>
          <a:p>
            <a:pPr algn="ctr" fontAlgn="auto">
              <a:spcBef>
                <a:spcPts val="0"/>
              </a:spcBef>
              <a:spcAft>
                <a:spcPts val="0"/>
              </a:spcAft>
              <a:defRPr/>
            </a:pPr>
            <a:endParaRPr lang="nb-NO" sz="1200" dirty="0">
              <a:solidFill>
                <a:schemeClr val="tx1">
                  <a:tint val="75000"/>
                </a:schemeClr>
              </a:solidFill>
              <a:latin typeface="+mn-lt"/>
            </a:endParaRPr>
          </a:p>
        </p:txBody>
      </p:sp>
      <p:sp>
        <p:nvSpPr>
          <p:cNvPr id="9219" name="Rectangle 23"/>
          <p:cNvSpPr>
            <a:spLocks noChangeArrowheads="1"/>
          </p:cNvSpPr>
          <p:nvPr>
            <p:custDataLst>
              <p:tags r:id="rId1"/>
            </p:custDataLst>
          </p:nvPr>
        </p:nvSpPr>
        <p:spPr bwMode="auto">
          <a:xfrm>
            <a:off x="203200" y="1460500"/>
            <a:ext cx="2855913" cy="4992688"/>
          </a:xfrm>
          <a:prstGeom prst="rect">
            <a:avLst/>
          </a:prstGeom>
          <a:noFill/>
          <a:ln w="9525" algn="ctr">
            <a:solidFill>
              <a:schemeClr val="tx2"/>
            </a:solidFill>
            <a:miter lim="800000"/>
            <a:headEnd/>
            <a:tailEnd/>
          </a:ln>
          <a:extLst>
            <a:ext uri="{909E8E84-426E-40DD-AFC4-6F175D3DCCD1}">
              <a14:hiddenFill xmlns:a14="http://schemas.microsoft.com/office/drawing/2010/main" xmlns="">
                <a:solidFill>
                  <a:srgbClr val="FFFFFF"/>
                </a:solidFill>
              </a14:hiddenFill>
            </a:ext>
          </a:extLst>
        </p:spPr>
        <p:txBody>
          <a:bodyPr lIns="72000" tIns="72000" rIns="72000" bIns="72000"/>
          <a:lstStyle/>
          <a:p>
            <a:pPr marL="342900" indent="-342900">
              <a:buFont typeface="Arial" charset="0"/>
              <a:buChar char="•"/>
            </a:pPr>
            <a:r>
              <a:rPr lang="nb-NO" sz="1100">
                <a:latin typeface="Calibri" pitchFamily="34" charset="0"/>
              </a:rPr>
              <a:t>Kompleksitet og omfang har økt over tid</a:t>
            </a:r>
          </a:p>
          <a:p>
            <a:pPr marL="342900" indent="-342900">
              <a:buFont typeface="Arial" charset="0"/>
              <a:buChar char="•"/>
            </a:pPr>
            <a:r>
              <a:rPr lang="nb-NO" sz="1100">
                <a:latin typeface="Calibri" pitchFamily="34" charset="0"/>
              </a:rPr>
              <a:t>Kompetanseutvikling lokalt har ikke skjedd i takt med økte utfordringer</a:t>
            </a:r>
          </a:p>
          <a:p>
            <a:pPr marL="342900" indent="-342900">
              <a:buFont typeface="Arial" charset="0"/>
              <a:buChar char="•"/>
            </a:pPr>
            <a:r>
              <a:rPr lang="nb-NO" sz="1100">
                <a:latin typeface="Calibri" pitchFamily="34" charset="0"/>
              </a:rPr>
              <a:t>Administrative oppgaver er fordelt på mange personer – bl.a. på pedagogiske ledere</a:t>
            </a:r>
          </a:p>
          <a:p>
            <a:pPr marL="800100" lvl="1" indent="-342900">
              <a:buFont typeface="Arial" charset="0"/>
              <a:buChar char="•"/>
            </a:pPr>
            <a:r>
              <a:rPr lang="nb-NO" sz="1100">
                <a:latin typeface="Calibri" pitchFamily="34" charset="0"/>
              </a:rPr>
              <a:t>Fokus blir tatt bort fra pedagogisk ledelse</a:t>
            </a:r>
          </a:p>
          <a:p>
            <a:pPr marL="800100" lvl="1" indent="-342900">
              <a:buFont typeface="Arial" charset="0"/>
              <a:buChar char="•"/>
            </a:pPr>
            <a:r>
              <a:rPr lang="nb-NO" sz="1100">
                <a:latin typeface="Calibri" pitchFamily="34" charset="0"/>
              </a:rPr>
              <a:t>Utydeliggjøring av ansvaret for de administrative oppgavene</a:t>
            </a:r>
          </a:p>
          <a:p>
            <a:pPr marL="800100" lvl="1" indent="-342900">
              <a:buFont typeface="Arial" charset="0"/>
              <a:buChar char="•"/>
            </a:pPr>
            <a:r>
              <a:rPr lang="nb-NO" sz="1100">
                <a:latin typeface="Calibri" pitchFamily="34" charset="0"/>
              </a:rPr>
              <a:t>Tidkrevende og sårbart </a:t>
            </a:r>
          </a:p>
          <a:p>
            <a:pPr marL="342900" indent="-342900">
              <a:buFont typeface="Arial" charset="0"/>
              <a:buChar char="•"/>
            </a:pPr>
            <a:r>
              <a:rPr lang="nb-NO" sz="1100">
                <a:latin typeface="Calibri" pitchFamily="34" charset="0"/>
              </a:rPr>
              <a:t>Bemanning og kompetanse på kontorpersonalet  i skolene er ofte knyttet til historisk situasjon og reflekterer ikke alltid dagens behov</a:t>
            </a:r>
          </a:p>
          <a:p>
            <a:pPr marL="342900" indent="-342900">
              <a:buFont typeface="Arial" charset="0"/>
              <a:buChar char="•"/>
            </a:pPr>
            <a:r>
              <a:rPr lang="nb-NO" sz="1100">
                <a:latin typeface="Calibri" pitchFamily="34" charset="0"/>
              </a:rPr>
              <a:t>Manglende økonomikompetanse gjør at skolene ikke alltid får utnyttet sine midler effektivt</a:t>
            </a:r>
          </a:p>
        </p:txBody>
      </p:sp>
      <p:sp>
        <p:nvSpPr>
          <p:cNvPr id="43" name="Rectangle 23"/>
          <p:cNvSpPr>
            <a:spLocks noChangeArrowheads="1"/>
          </p:cNvSpPr>
          <p:nvPr>
            <p:custDataLst>
              <p:tags r:id="rId2"/>
            </p:custDataLst>
          </p:nvPr>
        </p:nvSpPr>
        <p:spPr bwMode="auto">
          <a:xfrm>
            <a:off x="3438525" y="1460500"/>
            <a:ext cx="5526088" cy="4992688"/>
          </a:xfrm>
          <a:prstGeom prst="rect">
            <a:avLst/>
          </a:prstGeom>
          <a:noFill/>
          <a:ln w="9525" algn="ctr">
            <a:solidFill>
              <a:schemeClr val="tx2"/>
            </a:solidFill>
            <a:miter lim="800000"/>
            <a:headEnd/>
            <a:tailEnd/>
          </a:ln>
          <a:effectLst/>
        </p:spPr>
        <p:txBody>
          <a:bodyPr lIns="72000" tIns="72000" rIns="72000" bIns="72000"/>
          <a:lstStyle/>
          <a:p>
            <a:pPr fontAlgn="auto">
              <a:spcBef>
                <a:spcPts val="0"/>
              </a:spcBef>
              <a:spcAft>
                <a:spcPts val="0"/>
              </a:spcAft>
              <a:defRPr/>
            </a:pPr>
            <a:r>
              <a:rPr lang="nb-NO" sz="1100" b="1" dirty="0">
                <a:latin typeface="+mn-lt"/>
              </a:rPr>
              <a:t>STANDARDER</a:t>
            </a:r>
            <a:endParaRPr lang="nb-NO" sz="1100" dirty="0">
              <a:latin typeface="+mn-lt"/>
            </a:endParaRPr>
          </a:p>
          <a:p>
            <a:pPr marL="228600" indent="-228600" fontAlgn="auto">
              <a:spcBef>
                <a:spcPts val="0"/>
              </a:spcBef>
              <a:spcAft>
                <a:spcPts val="0"/>
              </a:spcAft>
              <a:buFont typeface="+mj-lt"/>
              <a:buAutoNum type="arabicPeriod"/>
              <a:defRPr/>
            </a:pPr>
            <a:r>
              <a:rPr lang="nb-NO" sz="1100" dirty="0">
                <a:latin typeface="+mn-lt"/>
              </a:rPr>
              <a:t>Etablering av administrasjonsavdeling hvor følgende oppgaver ligger:</a:t>
            </a:r>
          </a:p>
          <a:p>
            <a:pPr marL="685800" lvl="1" indent="-228600" fontAlgn="auto">
              <a:spcBef>
                <a:spcPts val="0"/>
              </a:spcBef>
              <a:spcAft>
                <a:spcPts val="0"/>
              </a:spcAft>
              <a:buFont typeface="+mj-lt"/>
              <a:buAutoNum type="alphaLcPeriod"/>
              <a:defRPr/>
            </a:pPr>
            <a:r>
              <a:rPr lang="nb-NO" sz="1000" dirty="0">
                <a:latin typeface="+mn-lt"/>
              </a:rPr>
              <a:t>Økonomi</a:t>
            </a:r>
          </a:p>
          <a:p>
            <a:pPr marL="685800" lvl="1" indent="-228600" fontAlgn="auto">
              <a:spcBef>
                <a:spcPts val="0"/>
              </a:spcBef>
              <a:spcAft>
                <a:spcPts val="0"/>
              </a:spcAft>
              <a:buFont typeface="+mj-lt"/>
              <a:buAutoNum type="alphaLcPeriod"/>
              <a:defRPr/>
            </a:pPr>
            <a:r>
              <a:rPr lang="nb-NO" sz="1000" dirty="0">
                <a:latin typeface="+mn-lt"/>
              </a:rPr>
              <a:t>Personalforvaltning/personalpolitikk/HMS</a:t>
            </a:r>
          </a:p>
          <a:p>
            <a:pPr marL="685800" lvl="1" indent="-228600" fontAlgn="auto">
              <a:spcBef>
                <a:spcPts val="0"/>
              </a:spcBef>
              <a:spcAft>
                <a:spcPts val="0"/>
              </a:spcAft>
              <a:buFont typeface="+mj-lt"/>
              <a:buAutoNum type="alphaLcPeriod"/>
              <a:defRPr/>
            </a:pPr>
            <a:r>
              <a:rPr lang="nb-NO" sz="1000" dirty="0">
                <a:latin typeface="+mn-lt"/>
              </a:rPr>
              <a:t>Innkjøp</a:t>
            </a:r>
          </a:p>
          <a:p>
            <a:pPr marL="685800" lvl="1" indent="-228600" fontAlgn="auto">
              <a:spcBef>
                <a:spcPts val="0"/>
              </a:spcBef>
              <a:spcAft>
                <a:spcPts val="0"/>
              </a:spcAft>
              <a:buFont typeface="+mj-lt"/>
              <a:buAutoNum type="alphaLcPeriod"/>
              <a:defRPr/>
            </a:pPr>
            <a:r>
              <a:rPr lang="nb-NO" sz="1000" dirty="0">
                <a:latin typeface="+mn-lt"/>
              </a:rPr>
              <a:t>Drift og vedlikehold/renhold</a:t>
            </a:r>
          </a:p>
          <a:p>
            <a:pPr marL="685800" lvl="1" indent="-228600" fontAlgn="auto">
              <a:spcBef>
                <a:spcPts val="0"/>
              </a:spcBef>
              <a:spcAft>
                <a:spcPts val="0"/>
              </a:spcAft>
              <a:buFont typeface="+mj-lt"/>
              <a:buAutoNum type="alphaLcPeriod"/>
              <a:defRPr/>
            </a:pPr>
            <a:r>
              <a:rPr lang="nb-NO" sz="1000" dirty="0">
                <a:latin typeface="+mn-lt"/>
              </a:rPr>
              <a:t>Administrasjon (sentralbord, resepsjon)</a:t>
            </a:r>
          </a:p>
          <a:p>
            <a:pPr marL="685800" lvl="1" indent="-228600" fontAlgn="auto">
              <a:spcBef>
                <a:spcPts val="0"/>
              </a:spcBef>
              <a:spcAft>
                <a:spcPts val="0"/>
              </a:spcAft>
              <a:buFont typeface="+mj-lt"/>
              <a:buAutoNum type="alphaLcPeriod"/>
              <a:defRPr/>
            </a:pPr>
            <a:r>
              <a:rPr lang="nb-NO" sz="1000" dirty="0">
                <a:latin typeface="+mn-lt"/>
              </a:rPr>
              <a:t>Dokumentasjon og arkiv</a:t>
            </a:r>
          </a:p>
          <a:p>
            <a:pPr marL="685800" lvl="1" indent="-228600" fontAlgn="auto">
              <a:spcBef>
                <a:spcPts val="0"/>
              </a:spcBef>
              <a:spcAft>
                <a:spcPts val="0"/>
              </a:spcAft>
              <a:buFont typeface="+mj-lt"/>
              <a:buAutoNum type="alphaLcPeriod"/>
              <a:defRPr/>
            </a:pPr>
            <a:r>
              <a:rPr lang="nb-NO" sz="1000" dirty="0">
                <a:latin typeface="+mn-lt"/>
              </a:rPr>
              <a:t>Servicefunksjon for pedagogiske støtteoppgaver (f.eks. tilrettelegging for eksamen, heldagsprøver, vitnemål, undersøkelser, elevsaker)</a:t>
            </a:r>
          </a:p>
          <a:p>
            <a:pPr lvl="1" fontAlgn="auto">
              <a:spcBef>
                <a:spcPts val="0"/>
              </a:spcBef>
              <a:spcAft>
                <a:spcPts val="0"/>
              </a:spcAft>
              <a:defRPr/>
            </a:pPr>
            <a:r>
              <a:rPr lang="nb-NO" sz="1000" dirty="0">
                <a:latin typeface="+mn-lt"/>
              </a:rPr>
              <a:t>Følgende oppgaver kan ligge i </a:t>
            </a:r>
            <a:r>
              <a:rPr lang="nb-NO" sz="1000" dirty="0" err="1">
                <a:latin typeface="+mn-lt"/>
              </a:rPr>
              <a:t>adm</a:t>
            </a:r>
            <a:r>
              <a:rPr lang="nb-NO" sz="1000" dirty="0">
                <a:latin typeface="+mn-lt"/>
              </a:rPr>
              <a:t>..</a:t>
            </a:r>
            <a:r>
              <a:rPr lang="nb-NO" sz="1000" dirty="0" err="1">
                <a:latin typeface="+mn-lt"/>
              </a:rPr>
              <a:t>avd</a:t>
            </a:r>
            <a:r>
              <a:rPr lang="nb-NO" sz="1000" dirty="0">
                <a:latin typeface="+mn-lt"/>
              </a:rPr>
              <a:t>:</a:t>
            </a:r>
          </a:p>
          <a:p>
            <a:pPr marL="685800" lvl="1" indent="-228600" fontAlgn="auto">
              <a:spcBef>
                <a:spcPts val="0"/>
              </a:spcBef>
              <a:spcAft>
                <a:spcPts val="0"/>
              </a:spcAft>
              <a:buFont typeface="+mj-lt"/>
              <a:buAutoNum type="alphaLcPeriod"/>
              <a:defRPr/>
            </a:pPr>
            <a:r>
              <a:rPr lang="nb-NO" sz="1000" dirty="0">
                <a:latin typeface="+mn-lt"/>
              </a:rPr>
              <a:t>IKT</a:t>
            </a:r>
          </a:p>
          <a:p>
            <a:pPr marL="685800" lvl="1" indent="-228600" fontAlgn="auto">
              <a:spcBef>
                <a:spcPts val="0"/>
              </a:spcBef>
              <a:spcAft>
                <a:spcPts val="0"/>
              </a:spcAft>
              <a:buFont typeface="+mj-lt"/>
              <a:buAutoNum type="alphaLcPeriod"/>
              <a:defRPr/>
            </a:pPr>
            <a:r>
              <a:rPr lang="nb-NO" sz="1000" dirty="0">
                <a:latin typeface="+mn-lt"/>
              </a:rPr>
              <a:t>Informasjon og markedsføring</a:t>
            </a:r>
          </a:p>
          <a:p>
            <a:pPr marL="228600" indent="-228600" fontAlgn="auto">
              <a:spcBef>
                <a:spcPts val="0"/>
              </a:spcBef>
              <a:spcAft>
                <a:spcPts val="0"/>
              </a:spcAft>
              <a:buFont typeface="+mj-lt"/>
              <a:buAutoNum type="arabicPeriod"/>
              <a:defRPr/>
            </a:pPr>
            <a:r>
              <a:rPr lang="nb-NO" sz="1100" dirty="0">
                <a:latin typeface="+mn-lt"/>
              </a:rPr>
              <a:t>Leder for administrasjonsavdeling (100% stilling)</a:t>
            </a:r>
          </a:p>
          <a:p>
            <a:pPr marL="685800" lvl="1" indent="-228600" fontAlgn="auto">
              <a:spcBef>
                <a:spcPts val="0"/>
              </a:spcBef>
              <a:spcAft>
                <a:spcPts val="0"/>
              </a:spcAft>
              <a:buFont typeface="+mj-lt"/>
              <a:buAutoNum type="alphaLcPeriod"/>
              <a:defRPr/>
            </a:pPr>
            <a:r>
              <a:rPr lang="nb-NO" sz="1000" dirty="0">
                <a:latin typeface="+mn-lt"/>
              </a:rPr>
              <a:t>Skal være i skolens ledergruppe</a:t>
            </a:r>
          </a:p>
          <a:p>
            <a:pPr marL="685800" lvl="1" indent="-228600" fontAlgn="auto">
              <a:spcBef>
                <a:spcPts val="0"/>
              </a:spcBef>
              <a:spcAft>
                <a:spcPts val="0"/>
              </a:spcAft>
              <a:buFont typeface="+mj-lt"/>
              <a:buAutoNum type="alphaLcPeriod"/>
              <a:defRPr/>
            </a:pPr>
            <a:r>
              <a:rPr lang="nb-NO" sz="1000" dirty="0">
                <a:latin typeface="+mn-lt"/>
              </a:rPr>
              <a:t>Relevant høyere akademisk/høyskole utdanning innen ledelse, økonomi og administrasjon og erfaring fra tilsvarende område. </a:t>
            </a:r>
          </a:p>
          <a:p>
            <a:pPr marL="228600" indent="-228600" fontAlgn="auto">
              <a:spcBef>
                <a:spcPts val="0"/>
              </a:spcBef>
              <a:spcAft>
                <a:spcPts val="0"/>
              </a:spcAft>
              <a:buFont typeface="+mj-lt"/>
              <a:buAutoNum type="arabicPeriod"/>
              <a:defRPr/>
            </a:pPr>
            <a:r>
              <a:rPr lang="nb-NO" sz="1100" dirty="0">
                <a:latin typeface="+mn-lt"/>
              </a:rPr>
              <a:t>Kompetanse i adm. avdelingen</a:t>
            </a:r>
          </a:p>
          <a:p>
            <a:pPr marL="685800" lvl="1" indent="-228600" fontAlgn="auto">
              <a:spcBef>
                <a:spcPts val="0"/>
              </a:spcBef>
              <a:spcAft>
                <a:spcPts val="0"/>
              </a:spcAft>
              <a:buFont typeface="+mj-lt"/>
              <a:buAutoNum type="alphaLcPeriod"/>
              <a:defRPr/>
            </a:pPr>
            <a:r>
              <a:rPr lang="nb-NO" sz="1000" dirty="0">
                <a:latin typeface="+mn-lt"/>
              </a:rPr>
              <a:t>Kompetanse som dekker alle oppgaveområdene – linjetjeneste</a:t>
            </a:r>
          </a:p>
          <a:p>
            <a:pPr marL="1143000" lvl="2" indent="-228600" fontAlgn="auto">
              <a:spcBef>
                <a:spcPts val="0"/>
              </a:spcBef>
              <a:spcAft>
                <a:spcPts val="0"/>
              </a:spcAft>
              <a:buFont typeface="Arial" pitchFamily="34" charset="0"/>
              <a:buChar char="•"/>
              <a:defRPr/>
            </a:pPr>
            <a:r>
              <a:rPr lang="nb-NO" sz="1000" dirty="0">
                <a:latin typeface="+mn-lt"/>
              </a:rPr>
              <a:t>Tilstrekkelig kunnskap om lov- og regelverk innenfor sine oppgaveområder</a:t>
            </a:r>
          </a:p>
          <a:p>
            <a:pPr marL="1143000" lvl="2" indent="-228600" fontAlgn="auto">
              <a:spcBef>
                <a:spcPts val="0"/>
              </a:spcBef>
              <a:spcAft>
                <a:spcPts val="0"/>
              </a:spcAft>
              <a:buFont typeface="Arial" pitchFamily="34" charset="0"/>
              <a:buChar char="•"/>
              <a:defRPr/>
            </a:pPr>
            <a:r>
              <a:rPr lang="nb-NO" sz="1000" dirty="0">
                <a:latin typeface="+mn-lt"/>
              </a:rPr>
              <a:t>Fagkompetanse (bl.a. økonomi, personalforvaltning, IKT, arkiv, pedagogiske støtteoppgaver)</a:t>
            </a:r>
          </a:p>
          <a:p>
            <a:pPr marL="685800" lvl="1" indent="-228600" fontAlgn="auto">
              <a:spcBef>
                <a:spcPts val="0"/>
              </a:spcBef>
              <a:spcAft>
                <a:spcPts val="0"/>
              </a:spcAft>
              <a:buFont typeface="+mj-lt"/>
              <a:buAutoNum type="alphaLcPeriod"/>
              <a:defRPr/>
            </a:pPr>
            <a:r>
              <a:rPr lang="nb-NO" sz="1000" dirty="0">
                <a:latin typeface="+mn-lt"/>
              </a:rPr>
              <a:t>Høyskolenivå (bachelor) eller annen relevant kompetanse</a:t>
            </a:r>
            <a:endParaRPr lang="nb-NO" sz="1100" b="1" dirty="0">
              <a:latin typeface="+mn-lt"/>
            </a:endParaRPr>
          </a:p>
          <a:p>
            <a:pPr fontAlgn="auto">
              <a:spcBef>
                <a:spcPts val="0"/>
              </a:spcBef>
              <a:spcAft>
                <a:spcPts val="0"/>
              </a:spcAft>
              <a:defRPr/>
            </a:pPr>
            <a:r>
              <a:rPr lang="nb-NO" sz="1100" b="1" dirty="0">
                <a:latin typeface="+mn-lt"/>
              </a:rPr>
              <a:t>TILTAK</a:t>
            </a:r>
          </a:p>
          <a:p>
            <a:pPr marL="228600" indent="-228600" fontAlgn="auto">
              <a:spcBef>
                <a:spcPts val="0"/>
              </a:spcBef>
              <a:spcAft>
                <a:spcPts val="0"/>
              </a:spcAft>
              <a:buClr>
                <a:schemeClr val="bg1"/>
              </a:buClr>
              <a:buFont typeface="+mj-lt"/>
              <a:buAutoNum type="arabicPeriod"/>
              <a:defRPr/>
            </a:pPr>
            <a:r>
              <a:rPr lang="nb-NO" sz="1100" dirty="0">
                <a:latin typeface="+mn-lt"/>
              </a:rPr>
              <a:t>Etablere administrasjonsavdeling med leder innen første halvår 2013</a:t>
            </a:r>
          </a:p>
          <a:p>
            <a:pPr marL="228600" indent="-228600" fontAlgn="auto">
              <a:spcBef>
                <a:spcPts val="0"/>
              </a:spcBef>
              <a:spcAft>
                <a:spcPts val="0"/>
              </a:spcAft>
              <a:buClr>
                <a:schemeClr val="bg1"/>
              </a:buClr>
              <a:buFont typeface="+mj-lt"/>
              <a:buAutoNum type="arabicPeriod"/>
              <a:defRPr/>
            </a:pPr>
            <a:r>
              <a:rPr lang="nb-NO" sz="1100" dirty="0">
                <a:latin typeface="+mn-lt"/>
              </a:rPr>
              <a:t>Utarbeide 3-års plan i løpet av 2012 for gjennomføring av foreslåtte standarder – følges opp i dialog med sentraladministrasjonen </a:t>
            </a:r>
          </a:p>
          <a:p>
            <a:pPr marL="228600" indent="-228600" fontAlgn="auto">
              <a:spcBef>
                <a:spcPts val="0"/>
              </a:spcBef>
              <a:spcAft>
                <a:spcPts val="0"/>
              </a:spcAft>
              <a:buClr>
                <a:schemeClr val="bg1"/>
              </a:buClr>
              <a:buFont typeface="+mj-lt"/>
              <a:buAutoNum type="arabicPeriod"/>
              <a:defRPr/>
            </a:pPr>
            <a:r>
              <a:rPr lang="nb-NO" sz="1100" dirty="0">
                <a:latin typeface="+mn-lt"/>
              </a:rPr>
              <a:t>Gjennomføre (kompetanseheving (jfr. pkt. sentraladministrasjon) innenfor </a:t>
            </a:r>
          </a:p>
          <a:p>
            <a:pPr marL="685800" lvl="1" indent="-228600" fontAlgn="auto">
              <a:spcBef>
                <a:spcPts val="0"/>
              </a:spcBef>
              <a:spcAft>
                <a:spcPts val="0"/>
              </a:spcAft>
              <a:buFont typeface="+mj-lt"/>
              <a:buAutoNum type="alphaLcPeriod"/>
              <a:defRPr/>
            </a:pPr>
            <a:r>
              <a:rPr lang="nb-NO" sz="1000" dirty="0">
                <a:latin typeface="+mn-lt"/>
              </a:rPr>
              <a:t>Pedagogiske støtteoppgaver </a:t>
            </a:r>
          </a:p>
          <a:p>
            <a:pPr marL="685800" lvl="1" indent="-228600" fontAlgn="auto">
              <a:spcBef>
                <a:spcPts val="0"/>
              </a:spcBef>
              <a:spcAft>
                <a:spcPts val="0"/>
              </a:spcAft>
              <a:buFont typeface="+mj-lt"/>
              <a:buAutoNum type="alphaLcPeriod"/>
              <a:defRPr/>
            </a:pPr>
            <a:r>
              <a:rPr lang="nb-NO" sz="1000" dirty="0">
                <a:latin typeface="+mn-lt"/>
              </a:rPr>
              <a:t>Administrative ressurser - felles standard for adm. rolle – innhold, lovverk, IKT-verktøy</a:t>
            </a:r>
          </a:p>
          <a:p>
            <a:pPr marL="228600" indent="-228600" fontAlgn="auto">
              <a:spcBef>
                <a:spcPts val="0"/>
              </a:spcBef>
              <a:spcAft>
                <a:spcPts val="0"/>
              </a:spcAft>
              <a:buFont typeface="+mj-lt"/>
              <a:buAutoNum type="alphaLcPeriod"/>
              <a:defRPr/>
            </a:pPr>
            <a:endParaRPr lang="nb-NO" sz="1100" dirty="0">
              <a:latin typeface="+mn-lt"/>
            </a:endParaRPr>
          </a:p>
        </p:txBody>
      </p:sp>
      <p:sp>
        <p:nvSpPr>
          <p:cNvPr id="9" name="TekstSylinder 8"/>
          <p:cNvSpPr txBox="1"/>
          <p:nvPr/>
        </p:nvSpPr>
        <p:spPr>
          <a:xfrm>
            <a:off x="203200" y="1166813"/>
            <a:ext cx="1674813" cy="246062"/>
          </a:xfrm>
          <a:prstGeom prst="rect">
            <a:avLst/>
          </a:prstGeom>
          <a:noFill/>
        </p:spPr>
        <p:txBody>
          <a:bodyPr wrap="none">
            <a:spAutoFit/>
          </a:bodyPr>
          <a:lstStyle/>
          <a:p>
            <a:pPr fontAlgn="auto">
              <a:spcBef>
                <a:spcPts val="0"/>
              </a:spcBef>
              <a:spcAft>
                <a:spcPts val="0"/>
              </a:spcAft>
              <a:defRPr/>
            </a:pPr>
            <a:r>
              <a:rPr lang="nb-NO" sz="1000" b="1" dirty="0">
                <a:solidFill>
                  <a:schemeClr val="accent6">
                    <a:lumMod val="10000"/>
                  </a:schemeClr>
                </a:solidFill>
                <a:latin typeface="+mn-lt"/>
              </a:rPr>
              <a:t>HOVEDUTFORDRINGER</a:t>
            </a:r>
          </a:p>
        </p:txBody>
      </p:sp>
      <p:sp>
        <p:nvSpPr>
          <p:cNvPr id="10" name="TekstSylinder 9"/>
          <p:cNvSpPr txBox="1"/>
          <p:nvPr/>
        </p:nvSpPr>
        <p:spPr>
          <a:xfrm>
            <a:off x="3371850" y="1166813"/>
            <a:ext cx="1809750" cy="246062"/>
          </a:xfrm>
          <a:prstGeom prst="rect">
            <a:avLst/>
          </a:prstGeom>
          <a:noFill/>
        </p:spPr>
        <p:txBody>
          <a:bodyPr wrap="none">
            <a:spAutoFit/>
          </a:bodyPr>
          <a:lstStyle/>
          <a:p>
            <a:pPr fontAlgn="auto">
              <a:spcBef>
                <a:spcPts val="0"/>
              </a:spcBef>
              <a:spcAft>
                <a:spcPts val="0"/>
              </a:spcAft>
              <a:defRPr/>
            </a:pPr>
            <a:r>
              <a:rPr lang="nb-NO" sz="1000" b="1" dirty="0">
                <a:solidFill>
                  <a:schemeClr val="accent6">
                    <a:lumMod val="10000"/>
                  </a:schemeClr>
                </a:solidFill>
                <a:latin typeface="+mn-lt"/>
              </a:rPr>
              <a:t>STANDARDER OG TILTAK</a:t>
            </a:r>
          </a:p>
        </p:txBody>
      </p:sp>
      <p:sp>
        <p:nvSpPr>
          <p:cNvPr id="14" name="Avrund diagonale hjørner i rektangel 13"/>
          <p:cNvSpPr/>
          <p:nvPr/>
        </p:nvSpPr>
        <p:spPr>
          <a:xfrm>
            <a:off x="3132138" y="1700213"/>
            <a:ext cx="512762" cy="230187"/>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FS1</a:t>
            </a:r>
          </a:p>
        </p:txBody>
      </p:sp>
      <p:sp>
        <p:nvSpPr>
          <p:cNvPr id="15" name="Avrund diagonale hjørner i rektangel 14"/>
          <p:cNvSpPr/>
          <p:nvPr/>
        </p:nvSpPr>
        <p:spPr>
          <a:xfrm>
            <a:off x="3132138" y="3559175"/>
            <a:ext cx="512762" cy="230188"/>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FS2</a:t>
            </a:r>
          </a:p>
        </p:txBody>
      </p:sp>
      <p:sp>
        <p:nvSpPr>
          <p:cNvPr id="16" name="Avrund diagonale hjørner i rektangel 15"/>
          <p:cNvSpPr/>
          <p:nvPr/>
        </p:nvSpPr>
        <p:spPr>
          <a:xfrm>
            <a:off x="3132138" y="4149725"/>
            <a:ext cx="512762" cy="228600"/>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FS3</a:t>
            </a:r>
          </a:p>
        </p:txBody>
      </p:sp>
      <p:sp>
        <p:nvSpPr>
          <p:cNvPr id="17" name="Avrund diagonale hjørner i rektangel 16"/>
          <p:cNvSpPr/>
          <p:nvPr/>
        </p:nvSpPr>
        <p:spPr>
          <a:xfrm>
            <a:off x="3132138" y="5287963"/>
            <a:ext cx="512762" cy="228600"/>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FT1</a:t>
            </a:r>
          </a:p>
        </p:txBody>
      </p:sp>
      <p:sp>
        <p:nvSpPr>
          <p:cNvPr id="18" name="Avrund diagonale hjørner i rektangel 17"/>
          <p:cNvSpPr/>
          <p:nvPr/>
        </p:nvSpPr>
        <p:spPr>
          <a:xfrm>
            <a:off x="3132138" y="5583238"/>
            <a:ext cx="512762" cy="228600"/>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FT2</a:t>
            </a:r>
          </a:p>
        </p:txBody>
      </p:sp>
      <p:sp>
        <p:nvSpPr>
          <p:cNvPr id="19" name="Avrund diagonale hjørner i rektangel 18"/>
          <p:cNvSpPr/>
          <p:nvPr/>
        </p:nvSpPr>
        <p:spPr>
          <a:xfrm>
            <a:off x="3132138" y="5864225"/>
            <a:ext cx="512762" cy="228600"/>
          </a:xfrm>
          <a:prstGeom prst="round2Diag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nb-NO" sz="900" b="1" dirty="0"/>
              <a:t>AFT3</a:t>
            </a:r>
          </a:p>
        </p:txBody>
      </p:sp>
      <p:sp>
        <p:nvSpPr>
          <p:cNvPr id="20" name="Tittel 2"/>
          <p:cNvSpPr txBox="1">
            <a:spLocks/>
          </p:cNvSpPr>
          <p:nvPr/>
        </p:nvSpPr>
        <p:spPr>
          <a:xfrm>
            <a:off x="179388" y="757238"/>
            <a:ext cx="8353425" cy="511175"/>
          </a:xfrm>
          <a:prstGeom prst="rect">
            <a:avLst/>
          </a:prstGeom>
        </p:spPr>
        <p:txBody>
          <a:bodyPr/>
          <a:lstStyle>
            <a:lvl1pPr algn="l" defTabSz="914400" rtl="0" eaLnBrk="1" latinLnBrk="0" hangingPunct="1">
              <a:spcBef>
                <a:spcPct val="0"/>
              </a:spcBef>
              <a:buNone/>
              <a:defRPr sz="1600" b="1" kern="1200">
                <a:solidFill>
                  <a:schemeClr val="tx1"/>
                </a:solidFill>
                <a:latin typeface="+mj-lt"/>
                <a:ea typeface="+mj-ea"/>
                <a:cs typeface="+mj-cs"/>
              </a:defRPr>
            </a:lvl1pPr>
          </a:lstStyle>
          <a:p>
            <a:pPr defTabSz="457200">
              <a:spcBef>
                <a:spcPct val="30000"/>
              </a:spcBef>
              <a:defRPr/>
            </a:pPr>
            <a:r>
              <a:rPr lang="nb-NO" kern="0" dirty="0">
                <a:solidFill>
                  <a:prstClr val="black"/>
                </a:solidFill>
              </a:rPr>
              <a:t>Administrasjon og forvaltning</a:t>
            </a:r>
            <a:endParaRPr lang="nb-NO" sz="1400" kern="0" dirty="0">
              <a:solidFill>
                <a:prstClr val="black"/>
              </a:solidFill>
            </a:endParaRPr>
          </a:p>
        </p:txBody>
      </p:sp>
      <p:sp>
        <p:nvSpPr>
          <p:cNvPr id="21" name="TekstSylinder 20"/>
          <p:cNvSpPr txBox="1"/>
          <p:nvPr/>
        </p:nvSpPr>
        <p:spPr>
          <a:xfrm>
            <a:off x="6516688" y="115888"/>
            <a:ext cx="2613025" cy="254000"/>
          </a:xfrm>
          <a:prstGeom prst="rect">
            <a:avLst/>
          </a:prstGeom>
          <a:noFill/>
        </p:spPr>
        <p:txBody>
          <a:bodyPr wrap="none">
            <a:spAutoFit/>
          </a:bodyPr>
          <a:lstStyle/>
          <a:p>
            <a:pPr fontAlgn="auto">
              <a:spcBef>
                <a:spcPts val="0"/>
              </a:spcBef>
              <a:spcAft>
                <a:spcPts val="0"/>
              </a:spcAft>
              <a:defRPr/>
            </a:pPr>
            <a:r>
              <a:rPr lang="nb-NO" sz="1050" dirty="0">
                <a:solidFill>
                  <a:schemeClr val="bg1">
                    <a:lumMod val="50000"/>
                  </a:schemeClr>
                </a:solidFill>
                <a:latin typeface="+mn-lt"/>
              </a:rPr>
              <a:t>ADMINISTRASJON OG FORVALTNING</a:t>
            </a:r>
          </a:p>
        </p:txBody>
      </p:sp>
    </p:spTree>
    <p:extLst>
      <p:ext uri="{BB962C8B-B14F-4D97-AF65-F5344CB8AC3E}">
        <p14:creationId xmlns:p14="http://schemas.microsoft.com/office/powerpoint/2010/main" xmlns="" val="26221941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4RZIoXer0GPZIA.0_l7D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4RZIoXer0GPZIA.0_l7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IwM9F9C60ydg1lwJ485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c9.UfetIEOB7L67aoMb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Ywqbjze9U27wkUasrcD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IwM9F9C60ydg1lwJ485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c9.UfetIEOB7L67aoMb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Ywqbjze9U27wkUasrcD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KIHw5X.L02hX.3kYz.c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KIHw5X.L02hX.3kYz.c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UDT_BQWK02b.EpodS3g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KIHw5X.L02hX.3kYz.c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KIHw5X.L02hX.3kYz.cUg"/>
</p:tagLst>
</file>

<file path=ppt/theme/theme1.xml><?xml version="1.0" encoding="utf-8"?>
<a:theme xmlns:a="http://schemas.openxmlformats.org/drawingml/2006/main" name="AKF_Utdanning_PP-mal">
  <a:themeElements>
    <a:clrScheme name="Enke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KF_Utdanning_PP-mal</Template>
  <TotalTime>4798</TotalTime>
  <Words>1805</Words>
  <Application>Microsoft Office PowerPoint</Application>
  <PresentationFormat>Skjermfremvisning (4:3)</PresentationFormat>
  <Paragraphs>355</Paragraphs>
  <Slides>27</Slides>
  <Notes>12</Notes>
  <HiddenSlides>0</HiddenSlides>
  <MMClips>0</MMClips>
  <ScaleCrop>false</ScaleCrop>
  <HeadingPairs>
    <vt:vector size="6" baseType="variant">
      <vt:variant>
        <vt:lpstr>Tema</vt:lpstr>
      </vt:variant>
      <vt:variant>
        <vt:i4>1</vt:i4>
      </vt:variant>
      <vt:variant>
        <vt:lpstr>Innebygde OLE-servere</vt:lpstr>
      </vt:variant>
      <vt:variant>
        <vt:i4>1</vt:i4>
      </vt:variant>
      <vt:variant>
        <vt:lpstr>Lysbildetitler</vt:lpstr>
      </vt:variant>
      <vt:variant>
        <vt:i4>27</vt:i4>
      </vt:variant>
    </vt:vector>
  </HeadingPairs>
  <TitlesOfParts>
    <vt:vector size="29" baseType="lpstr">
      <vt:lpstr>AKF_Utdanning_PP-mal</vt:lpstr>
      <vt:lpstr>think-cell Slide</vt:lpstr>
      <vt:lpstr>«Mer tid til det som gjelder» Standardkrav og tiltak for å bedre  kapasitet og kvalitet på ledelse  i videregående skole i  Akershus fylkeskommune   Sluttrapport, Oslo, 9. mai 2012  </vt:lpstr>
      <vt:lpstr> 1. Hvorfor ble prosjektet satt i gang?</vt:lpstr>
      <vt:lpstr>  Skolelederrollen i endring </vt:lpstr>
      <vt:lpstr> Skolelederrollen i endring forts. </vt:lpstr>
      <vt:lpstr> Akershus fylkeskommune har satt kvalitetsmål  for å styrke skolen og kunnskapsutviklingen</vt:lpstr>
      <vt:lpstr>2. Hva var hovedfunnene i prosjektet  på skolenivået?</vt:lpstr>
      <vt:lpstr>Kartleggingen har vist at skolene i det videre arbeidet  må klargjøre om de er hensiktsmessig organisert for å ivareta  de tre store oppgaveområdene </vt:lpstr>
      <vt:lpstr>Lysbilde 8</vt:lpstr>
      <vt:lpstr>Lysbilde 9</vt:lpstr>
      <vt:lpstr>Eksempelmodell for organisering av skole. Modellen tar  utgangspunkt i de tre store områdene som skolen skal lede og drive </vt:lpstr>
      <vt:lpstr>Kartleggingen har vist at skolene i det videre arbeidet  må klargjøre om de er hensiktsmessig organisert for å ivareta  de tre store oppgaveområdene </vt:lpstr>
      <vt:lpstr>                        3. Hvordan pålegger Akershus  fylkeskommune skolene å følge  opp rapporten  «Mer tid til det som gjelder»?</vt:lpstr>
      <vt:lpstr>3A. Akershus fylkeskommunes styringssignaler  til de videregående skolene i denne saken:</vt:lpstr>
      <vt:lpstr>3B. Økonomien </vt:lpstr>
      <vt:lpstr> 3C. Oppsummering: Hva skal de videregående skolene i Akershus nå gjøre: </vt:lpstr>
      <vt:lpstr>  4.Sett fra Akershus-skolenes side: Hvordan kan vi gå fram for å følge opp  fylkeskommunens forventninger? </vt:lpstr>
      <vt:lpstr>Oppfølging av undersøkelsen og  pedagogisk ledelse  ved Bleiker videregående skole</vt:lpstr>
      <vt:lpstr>Lysbilde 18</vt:lpstr>
      <vt:lpstr>Lysbilde 19</vt:lpstr>
      <vt:lpstr>Lysbilde 20</vt:lpstr>
      <vt:lpstr>Lysbilde 21</vt:lpstr>
      <vt:lpstr>Lysbilde 22</vt:lpstr>
      <vt:lpstr>Lysbilde 23</vt:lpstr>
      <vt:lpstr>Lysbilde 24</vt:lpstr>
      <vt:lpstr>Lysbilde 25</vt:lpstr>
      <vt:lpstr>Utfordringer Kontrollspennet på 20 – to avdelingsledere  med over 30 personer   Fellesfag – pr. i dag 32 personer     </vt:lpstr>
      <vt:lpstr>Lysbilde 27</vt:lpstr>
    </vt:vector>
  </TitlesOfParts>
  <Company>Akershus fylkeskommun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ortingsmelding nr. 22</dc:title>
  <dc:creator>Gammelsrud, Hans-Olav (Sentraladministrasjonen)</dc:creator>
  <dc:description>Template by addpoint.no</dc:description>
  <cp:lastModifiedBy>Helle K. Jensen</cp:lastModifiedBy>
  <cp:revision>853</cp:revision>
  <cp:lastPrinted>2012-10-16T14:47:22Z</cp:lastPrinted>
  <dcterms:created xsi:type="dcterms:W3CDTF">2011-06-10T07:53:03Z</dcterms:created>
  <dcterms:modified xsi:type="dcterms:W3CDTF">2013-02-14T12:2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addpoint.no</vt:lpwstr>
  </property>
</Properties>
</file>